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handoutMasterIdLst>
    <p:handoutMasterId r:id="rId38"/>
  </p:handoutMasterIdLst>
  <p:sldIdLst>
    <p:sldId id="258" r:id="rId2"/>
    <p:sldId id="486" r:id="rId3"/>
    <p:sldId id="497" r:id="rId4"/>
    <p:sldId id="516" r:id="rId5"/>
    <p:sldId id="450" r:id="rId6"/>
    <p:sldId id="502" r:id="rId7"/>
    <p:sldId id="503" r:id="rId8"/>
    <p:sldId id="504" r:id="rId9"/>
    <p:sldId id="505" r:id="rId10"/>
    <p:sldId id="506" r:id="rId11"/>
    <p:sldId id="507" r:id="rId12"/>
    <p:sldId id="508" r:id="rId13"/>
    <p:sldId id="509" r:id="rId14"/>
    <p:sldId id="510" r:id="rId15"/>
    <p:sldId id="511" r:id="rId16"/>
    <p:sldId id="513" r:id="rId17"/>
    <p:sldId id="514" r:id="rId18"/>
    <p:sldId id="512" r:id="rId19"/>
    <p:sldId id="517" r:id="rId20"/>
    <p:sldId id="518" r:id="rId21"/>
    <p:sldId id="519" r:id="rId22"/>
    <p:sldId id="520" r:id="rId23"/>
    <p:sldId id="521" r:id="rId24"/>
    <p:sldId id="522" r:id="rId25"/>
    <p:sldId id="523" r:id="rId26"/>
    <p:sldId id="524" r:id="rId27"/>
    <p:sldId id="525" r:id="rId28"/>
    <p:sldId id="526" r:id="rId29"/>
    <p:sldId id="527" r:id="rId30"/>
    <p:sldId id="528" r:id="rId31"/>
    <p:sldId id="529" r:id="rId32"/>
    <p:sldId id="530" r:id="rId33"/>
    <p:sldId id="531" r:id="rId34"/>
    <p:sldId id="532" r:id="rId35"/>
    <p:sldId id="533" r:id="rId36"/>
    <p:sldId id="335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3A8A"/>
    <a:srgbClr val="6AC000"/>
    <a:srgbClr val="A1343C"/>
    <a:srgbClr val="599422"/>
    <a:srgbClr val="94BF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76" autoAdjust="0"/>
    <p:restoredTop sz="94744" autoAdjust="0"/>
  </p:normalViewPr>
  <p:slideViewPr>
    <p:cSldViewPr snapToGrid="0">
      <p:cViewPr varScale="1">
        <p:scale>
          <a:sx n="113" d="100"/>
          <a:sy n="113" d="100"/>
        </p:scale>
        <p:origin x="876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368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65A59CFE-965C-281A-44F7-8B60C61D79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2A24A72-D6E1-8110-2EC3-14624537C2E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635498-D1F3-1343-A75A-44EE2D889945}" type="datetimeFigureOut">
              <a:rPr lang="es-CL" smtClean="0"/>
              <a:t>06-06-2025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21AEB21-EB67-3940-5852-85642B7B770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F6033FE-2DBE-D2E5-C286-74F0F2DC15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3A6C2-427B-1343-964D-1E06344597C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550292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6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669F3DA-D3E6-45F5-9929-562DAC01A8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262495D-8ED4-4AB5-AE0D-5C0C5454DD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CL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6E38DCA-DED5-4370-ACF7-0B8053F5F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E136868-0A87-4507-BCF3-4417BA311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B42150-4A64-463E-A63D-4EF0ABEDB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49A6AE09-37EC-4277-BAF5-6512B1EC18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0664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43D1BC0-D365-4CB4-84B1-6E0621613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7A029AB-76A9-4129-A21E-71EB1C3B67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0E8C1ED-6F29-43E6-BC75-FC664DD6E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11C3C13-C3A8-4E91-A8D4-397989E23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30040F7-CC1C-49FE-BB73-0D19E1F16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980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6ABA517-3D34-4B0A-84D1-7A8EA02BFB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4421ABE-1E67-47C9-B62D-5D4D33549D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A483068-BC08-4E2F-A2E9-E4B9E0EFE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182E36C-0598-45D3-B2A4-F62D2D5FF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1EBC838-3138-4D6C-8FDE-6B0645BFE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1997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6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8A8EA7B-507D-4324-B8B1-FAA99F47F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2284755-FD05-4799-AE94-A3F0865A6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CL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4D87642-D051-422F-B888-CAEF93C69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CD3AE1-2400-44D0-B6D8-1526A9C54B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F64B0EC-7EB3-4DC4-AA17-88D7194E2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C2924EFF-8767-4086-B7A7-329B718E2D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162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6D1D882-87EA-46D9-AC6C-10DAEE229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B214DD2-B6E4-4AA8-AC4A-E6EB8A75E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3DBD7DA-C349-48DF-B459-7459A26E5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A2804F-AFCF-4C39-8859-189F5EF51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C20259-8FA1-4E21-A918-43ABFDB2A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92B6AA1E-A46B-4BFE-907F-C8823FC0C4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1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8BBCEF4-C7C2-4772-ABDE-299B4B576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F696CFB-98E2-4EFE-8632-EBD1500360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0DFC878-8756-4D57-BF76-30D693B5C8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6706EF9-301E-4538-B453-61121A26E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8A2DC42-30D2-44FF-9BDC-6B15A8284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3A9B5A2-7649-41A5-B716-F980AD16B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6FE51882-9D77-4A42-B1A5-896C501D06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688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BFFE1F-8CC3-40F4-8571-148565437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5E13683-4C96-4281-90E2-9682552F8A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CL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15B4409-D476-47AF-A304-B245DA27F1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4BBC129-DCBB-4211-B3D2-2E9CF72A051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CL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4A2BBE47-0EF8-4869-8CCF-F311F16E54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3C1C502-81E3-431D-9A01-27BA7D695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38E52C5B-94CC-4C95-9D87-A448DF7D1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BB83E6F-5551-466F-91C7-CB8A5BD31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254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EB7A24-2266-40FA-81F5-7AF1BD0BC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9748C66-03A6-4B58-BCC1-E53FDECD9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01B9F2F-05C2-4C73-9C64-6238D442C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225C09D-02EA-4090-917E-C4F60194E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4846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78" imgH="377" progId="TCLayout.ActiveDocument.1">
                  <p:embed/>
                </p:oleObj>
              </mc:Choice>
              <mc:Fallback>
                <p:oleObj name="Diapositiva de think-cell" r:id="rId3" imgW="378" imgH="377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CF527B88-9423-407F-B12B-E1B8EA75C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8F42348-F265-4715-918B-93D4C612C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FE5F666-D11A-4C2D-84DD-3F2498600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821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9DC4C4B-01AA-4932-95AF-E01730E4C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8FCDA8-9F8F-4D6B-B171-F925864ED3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CL"/>
              <a:t>Haga clic para modificar los estilos de texto del patrón</a:t>
            </a:r>
          </a:p>
          <a:p>
            <a:pPr lvl="1"/>
            <a:r>
              <a:rPr lang="es-CL"/>
              <a:t>Segundo nivel</a:t>
            </a:r>
          </a:p>
          <a:p>
            <a:pPr lvl="2"/>
            <a:r>
              <a:rPr lang="es-CL"/>
              <a:t>Tercer nivel</a:t>
            </a:r>
          </a:p>
          <a:p>
            <a:pPr lvl="3"/>
            <a:r>
              <a:rPr lang="es-CL"/>
              <a:t>Cuarto nivel</a:t>
            </a:r>
          </a:p>
          <a:p>
            <a:pPr lvl="4"/>
            <a:r>
              <a:rPr lang="es-CL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96E1FE5-70FA-4624-8127-B9CEAD438F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CL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61453F9-DE5F-43E0-84C5-A3D8A6660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12231FF-9E82-4656-8DA7-D02866E29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72C6B94-0987-412C-B5DE-4858C6828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392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EBB592E-9042-4C88-8E4D-623C8B57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CL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5EE1B18-FFCC-4267-A60F-9CA5A89C2D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403BB3D-EDB3-45CE-8384-E6B96209C5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CL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F6BD29C-583A-433D-9458-F9A781698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3FC5645-A5FA-4415-A5EC-5715A2F87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AE4CBEF-7FCE-422D-8BD8-9CBD2C1DA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769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1B3D7208-F806-4EC8-9C3E-D2A7F66632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25" imgH="426" progId="TCLayout.ActiveDocument.1">
                  <p:embed/>
                </p:oleObj>
              </mc:Choice>
              <mc:Fallback>
                <p:oleObj name="Diapositiva de think-cell" r:id="rId15" imgW="425" imgH="42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1B3D7208-F806-4EC8-9C3E-D2A7F6663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85D617E1-698F-4275-9C89-1EC046123B97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Thin" panose="020B040302020202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E98B30C-D544-48D1-9E3B-D05AF7319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CL" dirty="0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23BB695-D2B6-45BD-9848-03293D433F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CL" dirty="0"/>
              <a:t>Haga clic para modificar los estilos de texto del patrón</a:t>
            </a:r>
          </a:p>
          <a:p>
            <a:pPr lvl="1"/>
            <a:r>
              <a:rPr lang="es-CL" dirty="0"/>
              <a:t>Segundo nivel</a:t>
            </a:r>
          </a:p>
          <a:p>
            <a:pPr lvl="2"/>
            <a:r>
              <a:rPr lang="es-CL" dirty="0"/>
              <a:t>Tercer nivel</a:t>
            </a:r>
          </a:p>
          <a:p>
            <a:pPr lvl="3"/>
            <a:r>
              <a:rPr lang="es-CL" dirty="0"/>
              <a:t>Cuarto nivel</a:t>
            </a:r>
          </a:p>
          <a:p>
            <a:pPr lvl="4"/>
            <a:r>
              <a:rPr lang="es-CL" dirty="0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CC38EDC-64DA-401A-A76F-9FE56C9CF7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055BE2A3-7460-4265-895D-68790C3C17DF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-06-2025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CFCC5CA-A901-4DC0-A10B-5CC449FCAE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 b="0" i="0">
                <a:solidFill>
                  <a:schemeClr val="tx1">
                    <a:tint val="75000"/>
                  </a:schemeClr>
                </a:solidFill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8CE2999-42D8-4C11-B23F-595D2CFE6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Helvetica Neue Thin" panose="020B0403020202020204" pitchFamily="34" charset="0"/>
              </a:defRPr>
            </a:lvl1pPr>
          </a:lstStyle>
          <a:p>
            <a:pPr>
              <a:defRPr/>
            </a:pPr>
            <a:fld id="{316EA909-44D5-46F5-8EFF-DD8A0D6A3009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25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Helvetica Neue Thin" panose="020B04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Helvetica Neue Thin" panose="020B04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Helvetica Neue Thin" panose="020B04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Helvetica Neue Thin" panose="020B04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Helvetica Neue Thin" panose="020B04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Helvetica Neue Thin" panose="020B04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3E1E82D-69F9-48EB-8D4E-E3E91B6B1F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78" imgH="379" progId="TCLayout.ActiveDocument.1">
                  <p:embed/>
                </p:oleObj>
              </mc:Choice>
              <mc:Fallback>
                <p:oleObj name="Diapositiva de think-cell" r:id="rId3" imgW="378" imgH="379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3E1E82D-69F9-48EB-8D4E-E3E91B6B1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41F970AE-93AF-A61D-B67E-66799486B261}"/>
              </a:ext>
            </a:extLst>
          </p:cNvPr>
          <p:cNvSpPr txBox="1"/>
          <p:nvPr/>
        </p:nvSpPr>
        <p:spPr>
          <a:xfrm>
            <a:off x="246819" y="5125118"/>
            <a:ext cx="800244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s-CL" sz="20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Helvetica Neue Thin" panose="020B0403020202020204" pitchFamily="34" charset="0"/>
                <a:ea typeface="+mn-ea"/>
                <a:cs typeface="+mn-cs"/>
              </a:rPr>
              <a:t>IMPLEMENTACION UNIMARC</a:t>
            </a:r>
            <a:br>
              <a:rPr kumimoji="0" lang="es-CL" sz="20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Helvetica Neue Thin" panose="020B0403020202020204" pitchFamily="34" charset="0"/>
                <a:ea typeface="+mn-ea"/>
                <a:cs typeface="+mn-cs"/>
              </a:rPr>
            </a:br>
            <a:r>
              <a:rPr lang="es-CL" sz="17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YO 2025</a:t>
            </a:r>
          </a:p>
          <a:p>
            <a:pPr>
              <a:defRPr/>
            </a:pPr>
            <a:r>
              <a:rPr lang="es-CL" sz="12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Información actualizada al martes 06 de Junio 2025</a:t>
            </a:r>
          </a:p>
        </p:txBody>
      </p:sp>
      <p:pic>
        <p:nvPicPr>
          <p:cNvPr id="8" name="Imagen 7" descr="Forma&#10;&#10;El contenido generado por IA puede ser incorrecto.">
            <a:extLst>
              <a:ext uri="{FF2B5EF4-FFF2-40B4-BE49-F238E27FC236}">
                <a16:creationId xmlns:a16="http://schemas.microsoft.com/office/drawing/2014/main" id="{598C80C2-41B6-C8E5-944E-04D5C84313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3646"/>
            <a:ext cx="2554665" cy="2554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399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846BAE-2A86-4968-EA69-3331916B1E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CDBE6F6A-88FC-BBFC-C020-70F1C857C065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33 UNIMARC - GRAL.JOSE ARTIGAS 3250,  ÑUÑOA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83DAE6E9-D0DB-99C1-A0E3-C14EC275C00F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E0D68B02-E95C-97D6-4964-D2CF48E6547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6246E264-43DE-E4FE-5910-68D2B4E5644F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8E7E74B5-E75C-794D-D0F4-D204471BDC16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B89830C9-1B63-A6E6-75CE-08D98D6B79A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DF155CFC-010F-B10E-364A-75614B58157C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7D9C89E-5463-3D07-200C-C58A0266FC28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B54A331B-0CFB-E277-5993-46A3A1F82A01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710A72F4-C9E1-2909-4059-3BEBA5E9ACAE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9C8A8538-C72B-42A1-6509-DB3D618AC4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a lata de una tienda&#10;&#10;El contenido generado por IA puede ser incorrecto.">
            <a:extLst>
              <a:ext uri="{FF2B5EF4-FFF2-40B4-BE49-F238E27FC236}">
                <a16:creationId xmlns:a16="http://schemas.microsoft.com/office/drawing/2014/main" id="{2988608F-06CA-4AEE-02BE-72649878D5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8878" y="2044715"/>
            <a:ext cx="3319968" cy="442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025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4118F-3BDE-C8DA-4CFF-A7FC38CF09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FCBD64A-1476-0C88-A546-A243D07D83B0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47 UNIMARC - SILVA CARVALLO 1414,  MAIPÚ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39A0586F-A54C-D01A-231D-65AEBA9B9E5B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15CB5186-0D57-FAAE-B91F-4527F4E4D2B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C41D520B-7AFA-6023-FAA6-42531EF4B0A9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5C851FA3-EBC6-CF3F-35F6-0E5ACAE85EDC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61CAFF43-4615-357B-E041-5422A2E29D4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21F3BB78-3662-6FB3-E153-2EE9B0B4CE1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14020F91-640E-18CD-5227-5A39159ED8B0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9561AC64-937D-199E-0BEE-B0D0A1279F3A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525C3710-FD7B-AB16-389D-E6CD7E8273AC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E4442AA4-8E89-2FAE-1B71-FD9FE3B6A32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a tienda de ropa&#10;&#10;El contenido generado por IA puede ser incorrecto.">
            <a:extLst>
              <a:ext uri="{FF2B5EF4-FFF2-40B4-BE49-F238E27FC236}">
                <a16:creationId xmlns:a16="http://schemas.microsoft.com/office/drawing/2014/main" id="{1C7D9D5E-5BB6-B45A-3FD6-1F3F8603B5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870" y="2055333"/>
            <a:ext cx="3293981" cy="439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605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91C0E-BD8B-C973-A51E-DDB7B4F08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F70C277B-D421-7FFB-6879-9D6CE1779426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75 UNIMARC - ARAUCO 697,  VALDIVIA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37D3E271-F7AB-ABEB-6D74-6DA13F423DCE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9DB94378-F530-91C1-8715-C8D59DE19D02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F0B04823-9B7B-BB71-3E32-0D3674B4BB15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38175F67-CDB0-329A-0ABF-6ABA5C65E4F6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50A6A203-95DD-6E0E-ECFF-C587A2450B9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AA83702F-E941-54BB-013C-1E9E6C03F12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6BAC5FC1-5E2B-46CC-8C68-C4A52E75A79F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EF64F03D-AF6E-14D0-679F-ED2BD6EBEC75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F0C26263-3D71-12AE-9F8D-DD4B21571F2D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3AEDE612-2BF9-5445-A199-DA1F4A79047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Calendario&#10;&#10;El contenido generado por IA puede ser incorrecto.">
            <a:extLst>
              <a:ext uri="{FF2B5EF4-FFF2-40B4-BE49-F238E27FC236}">
                <a16:creationId xmlns:a16="http://schemas.microsoft.com/office/drawing/2014/main" id="{84B2AF54-3EC0-45F3-3DAD-FB4761F36D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9942" y="1983932"/>
            <a:ext cx="3252115" cy="4336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372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189C0A-DAD9-8A1A-9CC1-4B7208C7D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DC918282-1431-2733-D6B9-CEF5FA871677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602 UNIMARC - COSME CHURRUCA 75,  CONCEPCIÓN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7EE340D5-4C5B-9F89-EE6E-1D01D4542B56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A05949EA-8D9D-C674-0F38-29C0FBF24122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014CDCD6-F1F4-37D4-AE63-27EAC054CFA9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BD0273E6-0E18-0B22-3CD7-CC643379ED6B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55F23874-90E0-1338-A50F-8E63314D181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017026F5-74FF-209A-2800-C6D9B142D9D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0FAD85EE-865B-0743-FD24-5ADAA4B73FC5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131282FC-4A7E-AFCF-DFAD-226FE25C4357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105611D6-2D7B-7749-4AE9-F0E675D8EDD2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43953139-6670-5103-C6EF-9663DBBC636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Botella de plástico en una tienda&#10;&#10;El contenido generado por IA puede ser incorrecto.">
            <a:extLst>
              <a:ext uri="{FF2B5EF4-FFF2-40B4-BE49-F238E27FC236}">
                <a16:creationId xmlns:a16="http://schemas.microsoft.com/office/drawing/2014/main" id="{D2F65277-628B-E6A7-11A6-FE86C1D25D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2401"/>
            <a:ext cx="3382804" cy="4492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95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C8EB2-8262-5D41-BE56-CE3C1F80A1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6BB9BE9C-D242-1917-665E-C76CACEA7470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686 UNIMARC - AVDA. KENNEDY 2235,  RANCAGUA</a:t>
            </a:r>
            <a:r>
              <a:rPr lang="en-U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317D587-3BFE-E2E6-FC82-2D4AC6EF1DEE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E935B403-5610-9C8C-B350-87FE49C0E3FD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E3E5EC9F-E211-6648-5748-38D65D1B4AFE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42EA90EA-7F18-B78D-7D39-9658AB6D58F5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8145B051-1EAD-8E92-1D42-9F4685AF938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13353D1C-4524-A204-C453-D1356B38304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9EDAEC7B-8549-8AF2-57DB-0DD4C83C331C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E2CFD560-0F96-9E8D-1363-69F8C6C4A7B8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7094325B-DF67-E7D5-3230-9C1640DE5C4C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53FD95D5-CBB7-14FD-C028-841F0B251E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Imagen que contiene interior, techo, comida, tabla&#10;&#10;El contenido generado por IA puede ser incorrecto.">
            <a:extLst>
              <a:ext uri="{FF2B5EF4-FFF2-40B4-BE49-F238E27FC236}">
                <a16:creationId xmlns:a16="http://schemas.microsoft.com/office/drawing/2014/main" id="{B78C54F7-9EDA-3FE2-6121-CDBA6474A8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2401"/>
            <a:ext cx="3313325" cy="4417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1087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5D478-4076-F8AA-9A1E-F2F950E5E8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C2CE9C40-C270-E311-2022-5E302521F52E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91 UNIMARC - AV. FRANCIA (L089) 2651,  VALDIVIA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038EF56-6690-32C9-7C71-2A855C49DEE2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3AFA7A85-584F-8201-DD91-C229E521C711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81562CF5-AEB8-6696-C791-06D74342E2AD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E323E87D-A07B-80A1-1B0B-59024722A7CB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64F8B19F-8718-034C-2073-6CFD4D6F2DA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B356B4E4-9A60-9B82-6495-7B0A82051A8E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E5F13178-B258-405D-3B3D-5058E65AC02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59080AB8-812F-749C-8CBC-832E43E1CB31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97B2BC85-884E-95CE-42C1-D450C8B6BED8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96B7B851-BF89-F95E-91E9-FC32EF0DE48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a tienda de ropa&#10;&#10;El contenido generado por IA puede ser incorrecto.">
            <a:extLst>
              <a:ext uri="{FF2B5EF4-FFF2-40B4-BE49-F238E27FC236}">
                <a16:creationId xmlns:a16="http://schemas.microsoft.com/office/drawing/2014/main" id="{CE6DB538-F311-5312-A27C-61A81B2A1A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9982"/>
            <a:ext cx="3364175" cy="448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3867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F43208-E4A2-4AFD-92C3-2DCE14AC5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D5C442E-333C-3E3C-700C-A165D857BF98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4 UNIMARC - PEDRO AGUIRRE CERDA 8700,  ANTOFAGASTA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065BAE39-B443-844A-2F32-8A25D6A52D1C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35943ED0-1C27-B5F1-AB63-9FF6A46EE5D7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2F244852-7462-DC8D-696E-BBE46F803E55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A3839B4B-4639-B143-B60B-88DD58A71FE6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E229438D-8118-18A2-6879-95BE03B9185A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BB792945-2F8A-9CF4-9788-548D2A5FF59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CA392E68-BB1E-5914-CD30-CC8090DEB0B1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E08247DE-0B38-CEF7-8DA0-626AAF60BB59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E055D278-330D-45AB-80CC-4046A701E581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C295C81E-04E9-C5D5-5BDE-CCF638B202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 grupo de libros en una tienda&#10;&#10;El contenido generado por IA puede ser incorrecto.">
            <a:extLst>
              <a:ext uri="{FF2B5EF4-FFF2-40B4-BE49-F238E27FC236}">
                <a16:creationId xmlns:a16="http://schemas.microsoft.com/office/drawing/2014/main" id="{FD8DECA9-2FBC-3EC2-12FD-AFCE546F46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057" y="2040157"/>
            <a:ext cx="2541179" cy="4517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679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82EAEF-E8C1-C996-1E85-FFDCE0A4F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4B93B953-D2C5-2CEC-E8AD-CB2F3CFE768F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61 UNIMARC - PEDRO AGUIRRE CERDA 11385,  ANTOFAGASTA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D1051A36-51D7-DCBA-5684-81EC3D4D0168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EEA1A6E1-F3C1-35A9-9261-0EED89087AC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994F3326-6649-718B-6EA6-09EEA60F3DCF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8CF5D031-DA3B-9FD9-27D8-DF6BEA958251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84653619-BF20-9673-98F6-D972C261C29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2AE93A7D-BDBA-927B-CC7F-D73AAF8318A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6D9DC5B-AEF0-BF29-4196-133565D7D578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957D27DD-71C7-A3CC-5F80-7567AE23FA15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627160EA-1447-8CA8-1F88-F9C49AB767C0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0664CB0D-1282-65A0-2148-35A84F0179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 refrigerador con comida en una tienda&#10;&#10;El contenido generado por IA puede ser incorrecto.">
            <a:extLst>
              <a:ext uri="{FF2B5EF4-FFF2-40B4-BE49-F238E27FC236}">
                <a16:creationId xmlns:a16="http://schemas.microsoft.com/office/drawing/2014/main" id="{B59270ED-C25F-1B92-4DAC-42FEB4F4D6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608" y="2044714"/>
            <a:ext cx="2531068" cy="4499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7968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C585D-8504-3318-5C95-0735F4B16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9C9EF715-E8C3-ABE4-70F1-C7CFC7CBBD06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445 UNIMARC - AV.VALPARAISO 1982,  VILLA ALEMANA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0FCCE6EF-90AF-7D73-F99C-78D4FA4EC8CF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DFCAE776-56EC-0574-02AA-F2BC9C6B44D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BBED14D8-0B50-8558-4A25-110F4BA24FC0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6309D01C-9C8B-26BD-63DB-F6D9D990097A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1BD428CD-5DFF-2530-70FE-735B7E5FEA1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F446B6D6-A335-B048-8A88-61D9914E692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6C53B39B-C198-DC9E-CE53-0476D3962393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5C6C52ED-7061-0BDB-4109-B5BB3839F169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189DB139-D6E3-EA0B-B944-3917DA0A563D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231097E4-ADEE-AFAA-EC3F-EFC729BD3E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a tienda de ropa&#10;&#10;El contenido generado por IA puede ser incorrecto.">
            <a:extLst>
              <a:ext uri="{FF2B5EF4-FFF2-40B4-BE49-F238E27FC236}">
                <a16:creationId xmlns:a16="http://schemas.microsoft.com/office/drawing/2014/main" id="{7E755D3A-C016-D524-E0B6-B8695A3F0C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870" y="1947692"/>
            <a:ext cx="2601983" cy="462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0430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CF63DA-A919-F852-6103-C8ACD7BF2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09747F9-82A0-60EF-C924-7554209A5358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7 UNIMARC - JOSÉ SANTOS OSSA 2350,  ANTOFAGASTA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498297D2-F2F5-7802-5DCC-0C9ABA4E8AB5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2F253ACC-3957-5D6F-7AA6-F528EDE147B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B63B51F4-0DB7-B6D2-BE3A-FC483E6CCE48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CFF4AA72-1C6A-2F14-FA3D-40DEE8220AE8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2F8585D7-4A06-0963-7AB7-4CB120812B6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7FE9B92F-A389-F1C7-87AB-0FB89A530FE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2B4F30D1-107E-D0C5-A9CC-796B266C865F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02D2D002-3D0F-0EB6-5DBE-5B5D87566A78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E05AC0FA-68D5-206E-796F-6AAFFE00FACF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F08CDC9E-1DCC-95F7-42AF-239B5FDAD6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3DA6CAA-7BA2-9B9F-FFDE-4C5A865F23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267" y="2044715"/>
            <a:ext cx="2519465" cy="4479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323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31B29-ED6A-18AE-243A-0C4B617D3F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C2DA589E-CF23-2A3E-2202-F400ECDB8471}"/>
              </a:ext>
            </a:extLst>
          </p:cNvPr>
          <p:cNvSpPr txBox="1">
            <a:spLocks/>
          </p:cNvSpPr>
          <p:nvPr/>
        </p:nvSpPr>
        <p:spPr>
          <a:xfrm>
            <a:off x="443423" y="240775"/>
            <a:ext cx="7778027" cy="3664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22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RESUMEN GENERAL DE INDICADORES</a:t>
            </a:r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CB4B8A48-ECF1-AFFF-E5D5-4510ECE77379}"/>
              </a:ext>
            </a:extLst>
          </p:cNvPr>
          <p:cNvCxnSpPr>
            <a:cxnSpLocks/>
          </p:cNvCxnSpPr>
          <p:nvPr/>
        </p:nvCxnSpPr>
        <p:spPr>
          <a:xfrm flipV="1">
            <a:off x="6317804" y="960607"/>
            <a:ext cx="0" cy="5701165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33D9FF71-A948-89FF-A25D-0F89CD47E897}"/>
              </a:ext>
            </a:extLst>
          </p:cNvPr>
          <p:cNvCxnSpPr>
            <a:cxnSpLocks/>
          </p:cNvCxnSpPr>
          <p:nvPr/>
        </p:nvCxnSpPr>
        <p:spPr>
          <a:xfrm>
            <a:off x="6656876" y="2396162"/>
            <a:ext cx="4476266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95042D21-8F69-4C1B-AAF7-8D48DA3ECB2B}"/>
              </a:ext>
            </a:extLst>
          </p:cNvPr>
          <p:cNvCxnSpPr>
            <a:cxnSpLocks/>
          </p:cNvCxnSpPr>
          <p:nvPr/>
        </p:nvCxnSpPr>
        <p:spPr>
          <a:xfrm>
            <a:off x="6656876" y="3481355"/>
            <a:ext cx="4476266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9A43576C-C0A1-5321-B2B1-BFA569B9783C}"/>
              </a:ext>
            </a:extLst>
          </p:cNvPr>
          <p:cNvCxnSpPr>
            <a:cxnSpLocks/>
          </p:cNvCxnSpPr>
          <p:nvPr/>
        </p:nvCxnSpPr>
        <p:spPr>
          <a:xfrm>
            <a:off x="6656876" y="5529669"/>
            <a:ext cx="4476266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374FF7F6-B1B8-DAB8-BC7E-AB7153A3D067}"/>
              </a:ext>
            </a:extLst>
          </p:cNvPr>
          <p:cNvSpPr txBox="1"/>
          <p:nvPr/>
        </p:nvSpPr>
        <p:spPr>
          <a:xfrm>
            <a:off x="7420767" y="1639834"/>
            <a:ext cx="44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CANTIDAD DE LOCALES PARA IMPLEMENTAR</a:t>
            </a:r>
          </a:p>
          <a:p>
            <a:r>
              <a:rPr lang="es-CL" sz="3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35	     </a:t>
            </a:r>
          </a:p>
        </p:txBody>
      </p:sp>
      <p:pic>
        <p:nvPicPr>
          <p:cNvPr id="10" name="Gráfico 9" descr="Kiosk con relleno sólido">
            <a:extLst>
              <a:ext uri="{FF2B5EF4-FFF2-40B4-BE49-F238E27FC236}">
                <a16:creationId xmlns:a16="http://schemas.microsoft.com/office/drawing/2014/main" id="{FD381DAA-4741-0BEC-0FE4-630B6507D6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33385" y="1679367"/>
            <a:ext cx="720000" cy="628821"/>
          </a:xfrm>
          <a:prstGeom prst="rect">
            <a:avLst/>
          </a:prstGeom>
        </p:spPr>
      </p:pic>
      <p:pic>
        <p:nvPicPr>
          <p:cNvPr id="11" name="Gráfico 10" descr="Thumbs up sign con relleno sólido">
            <a:extLst>
              <a:ext uri="{FF2B5EF4-FFF2-40B4-BE49-F238E27FC236}">
                <a16:creationId xmlns:a16="http://schemas.microsoft.com/office/drawing/2014/main" id="{439DCA88-8ECA-1E57-0E79-E53ABCC740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33385" y="3616148"/>
            <a:ext cx="720000" cy="720000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F0FD1461-0475-BD86-2209-639517B93C8E}"/>
              </a:ext>
            </a:extLst>
          </p:cNvPr>
          <p:cNvSpPr txBox="1"/>
          <p:nvPr/>
        </p:nvSpPr>
        <p:spPr>
          <a:xfrm>
            <a:off x="7420767" y="3623348"/>
            <a:ext cx="4482000" cy="705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CANTIDAD DE LOCALES IMPLEMENTADOS</a:t>
            </a:r>
          </a:p>
          <a:p>
            <a:r>
              <a:rPr lang="es-CL" sz="3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31</a:t>
            </a:r>
          </a:p>
        </p:txBody>
      </p:sp>
      <p:pic>
        <p:nvPicPr>
          <p:cNvPr id="13" name="Gráfico 12" descr="Exclamation mark con relleno sólido">
            <a:extLst>
              <a:ext uri="{FF2B5EF4-FFF2-40B4-BE49-F238E27FC236}">
                <a16:creationId xmlns:a16="http://schemas.microsoft.com/office/drawing/2014/main" id="{BF4C8E87-6C90-3565-31C3-AE0272BF42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33385" y="4658768"/>
            <a:ext cx="720000" cy="7200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D1D0ED1E-9292-7CD0-4D25-236645DEA309}"/>
              </a:ext>
            </a:extLst>
          </p:cNvPr>
          <p:cNvSpPr txBox="1"/>
          <p:nvPr/>
        </p:nvSpPr>
        <p:spPr>
          <a:xfrm>
            <a:off x="7420767" y="4664825"/>
            <a:ext cx="44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CANTIDAD DE LOCALES PENDIENTES</a:t>
            </a:r>
          </a:p>
          <a:p>
            <a:r>
              <a:rPr lang="es-CL" sz="3000" dirty="0">
                <a:solidFill>
                  <a:srgbClr val="C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0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627A4AB-CC42-2970-1173-A6F635D41F54}"/>
              </a:ext>
            </a:extLst>
          </p:cNvPr>
          <p:cNvSpPr txBox="1"/>
          <p:nvPr/>
        </p:nvSpPr>
        <p:spPr>
          <a:xfrm>
            <a:off x="7420767" y="5640606"/>
            <a:ext cx="44762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CANTIDAD DE LOCALES VISITADOS NO IMPLEMENTADOS</a:t>
            </a:r>
          </a:p>
          <a:p>
            <a:r>
              <a:rPr lang="es-CL" sz="3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4</a:t>
            </a:r>
            <a:endParaRPr lang="es-CL" sz="3000" dirty="0">
              <a:solidFill>
                <a:srgbClr val="C00000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BE7244B3-9C8D-9A86-A04B-1D2F2D643020}"/>
              </a:ext>
            </a:extLst>
          </p:cNvPr>
          <p:cNvSpPr txBox="1"/>
          <p:nvPr/>
        </p:nvSpPr>
        <p:spPr>
          <a:xfrm>
            <a:off x="6529259" y="927725"/>
            <a:ext cx="52636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000" dirty="0">
                <a:solidFill>
                  <a:srgbClr val="599422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100% LOCALES VISITADOS     </a:t>
            </a:r>
          </a:p>
        </p:txBody>
      </p:sp>
      <p:pic>
        <p:nvPicPr>
          <p:cNvPr id="17" name="Gráfico 16" descr="Checkbox Checked con relleno sólido">
            <a:extLst>
              <a:ext uri="{FF2B5EF4-FFF2-40B4-BE49-F238E27FC236}">
                <a16:creationId xmlns:a16="http://schemas.microsoft.com/office/drawing/2014/main" id="{5BEF647B-A879-EDA9-D1CD-50B671F0A8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29259" y="2480535"/>
            <a:ext cx="929273" cy="929273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EEE5DA85-51F8-C4C3-5A6A-F6FAE2ED3A61}"/>
              </a:ext>
            </a:extLst>
          </p:cNvPr>
          <p:cNvSpPr txBox="1"/>
          <p:nvPr/>
        </p:nvSpPr>
        <p:spPr>
          <a:xfrm>
            <a:off x="7420767" y="2617838"/>
            <a:ext cx="44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CANTIDAD DE LOCALES VISITADOS</a:t>
            </a:r>
          </a:p>
          <a:p>
            <a:r>
              <a:rPr lang="es-CL" sz="3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35    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69D09857-3DD4-82C7-4581-8ABDD33DE0A1}"/>
              </a:ext>
            </a:extLst>
          </p:cNvPr>
          <p:cNvCxnSpPr>
            <a:cxnSpLocks/>
          </p:cNvCxnSpPr>
          <p:nvPr/>
        </p:nvCxnSpPr>
        <p:spPr>
          <a:xfrm>
            <a:off x="6656876" y="4479409"/>
            <a:ext cx="4476266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áfico 19" descr="Megaphone1 con relleno sólido">
            <a:extLst>
              <a:ext uri="{FF2B5EF4-FFF2-40B4-BE49-F238E27FC236}">
                <a16:creationId xmlns:a16="http://schemas.microsoft.com/office/drawing/2014/main" id="{3C7E9843-9325-A7B6-F23D-095729F07F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23043" y="5598583"/>
            <a:ext cx="740684" cy="720000"/>
          </a:xfrm>
          <a:prstGeom prst="rect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8D89F73C-88F5-0FCF-BB82-8BDCE8EACED9}"/>
              </a:ext>
            </a:extLst>
          </p:cNvPr>
          <p:cNvSpPr/>
          <p:nvPr/>
        </p:nvSpPr>
        <p:spPr>
          <a:xfrm>
            <a:off x="1315371" y="1639834"/>
            <a:ext cx="31678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Estado de Implementación General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97455D3C-6336-832A-4CDB-CBF020FE5DEE}"/>
              </a:ext>
            </a:extLst>
          </p:cNvPr>
          <p:cNvCxnSpPr>
            <a:cxnSpLocks/>
          </p:cNvCxnSpPr>
          <p:nvPr/>
        </p:nvCxnSpPr>
        <p:spPr>
          <a:xfrm>
            <a:off x="542575" y="737136"/>
            <a:ext cx="10951975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Imagen 25">
            <a:extLst>
              <a:ext uri="{FF2B5EF4-FFF2-40B4-BE49-F238E27FC236}">
                <a16:creationId xmlns:a16="http://schemas.microsoft.com/office/drawing/2014/main" id="{8096202A-6C7B-7078-6B2A-9EC1F170CE9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15371" y="1913513"/>
            <a:ext cx="2867025" cy="342900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101C9A74-CE19-231B-22AA-CDCFE29E1C7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39012" y="2651988"/>
            <a:ext cx="2619741" cy="2648320"/>
          </a:xfrm>
          <a:prstGeom prst="rect">
            <a:avLst/>
          </a:prstGeom>
        </p:spPr>
      </p:pic>
      <p:pic>
        <p:nvPicPr>
          <p:cNvPr id="28" name="Imagen 27" descr="Forma&#10;&#10;El contenido generado por IA puede ser incorrecto.">
            <a:extLst>
              <a:ext uri="{FF2B5EF4-FFF2-40B4-BE49-F238E27FC236}">
                <a16:creationId xmlns:a16="http://schemas.microsoft.com/office/drawing/2014/main" id="{C310517C-5A53-0D69-F1E2-C270F7D8F74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2033" y="-327948"/>
            <a:ext cx="1407736" cy="1407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7468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FC76F-1B44-2A8A-134D-A7B3C09F1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D968AEBE-A6F6-5136-6CCF-4C42628E5DB7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14 UNIMARC - CAMINO EL VENADO 1380,  SAN PEDRO DE LA PAZ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09444FBD-C523-5D66-5B2F-72E914C80ACA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FE7A82D4-A044-5E2E-5C4A-456CD5EA0F3E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DA2C47EC-3FD8-1CFA-3EDE-313AB0AFF444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28CE2525-D1DA-7EE5-CE2E-35B0009ACA28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827370FC-5131-AF28-511B-EE519C0800F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C3104B14-2E3E-2ECF-5461-3B79EE0F1A9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CDBB6D0F-C80A-8314-DEDF-695AC446979C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3908AE5A-E380-9292-ACAE-515307ABD34D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3E57BCE5-DDB7-4438-8ECD-8FDFBD3B0A0E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390086E1-9084-0393-2D0C-8383E25B79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4D300AB-2EC6-F56B-57C3-3A5FB70503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231" y="1983932"/>
            <a:ext cx="3427588" cy="4552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185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E0554-4F6D-30DA-B5BE-EFE5B60DD5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A25A53AA-EFBB-B98A-14CC-2C399601E5B3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2 UNIMARC - LOS CARRERAS 2242,  COPIAPÓ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D9D15BD6-B0F6-29DE-2985-575FDE171D7F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6CD41DB1-3D62-005E-8A0D-03BE33232C6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556B8B5C-2507-3FD2-980B-6F41E6D9C001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B01D526C-AA0A-0337-B165-C048D7487FEF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ED61B00B-F78E-90E1-987B-025C6C07D35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1AE46F77-6EF3-F802-42B1-69F4C7CA74F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BA25E27C-793A-67A7-7048-52EB65FFC432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55B4EF32-AE25-4FDC-5476-18D22075963C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F9E74DF0-51FF-CD1E-D942-F1A31B5479AA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1B88B872-0784-5D6B-8CFF-0A58E05AF10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5A1D650-826A-E682-5821-2C4C779999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966" y="2044715"/>
            <a:ext cx="2904067" cy="4486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679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F5FC5-2F0D-3A21-63AF-CEE30036F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76EA8266-E892-9251-CF1C-EE65571BBC4E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2 UNIMARC - CHACABUCO 231,  COPIAPÓ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39270503-AA8F-026C-5770-F28405155C74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6E80B897-AA08-AD8D-92BC-667D2FA4357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8758607C-D2A3-12CB-F185-312CD52DD40A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84E98917-0DC2-F81E-E1FF-42DC6E6DFE97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7E103784-9808-481A-B096-420BD8607BC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612B31B4-091B-D875-AF4E-5303964C658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308788B9-74A6-6C05-084E-1E7A74C348CD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FC5DEB29-6236-08C7-C2B8-0354F37D2BA1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709811F4-5B8B-573D-43D4-859B0462DC4D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8955F338-E1D1-4886-9539-34197882EC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D497CBB-9A47-0305-AC25-8AD650F160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729" y="1990636"/>
            <a:ext cx="3402266" cy="4536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057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8BC5A0-EDB4-4722-295F-BAAB335BC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BD14D26B-932F-1617-3C5A-F750745C346B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642 UNIMARC - LOS NOTROS 1272,  PUERTO MONTT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8CC186AC-C77D-25DB-93B5-F779411A85BF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20333499-7FD9-6BA4-66EB-3D432133F03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4D186BEE-54A0-E665-88FD-ED2587C54BED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D31E710B-D808-417C-B172-DE4E5DFCFA8E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17BC45CC-473B-E4B9-7EE6-F2550D1B8AC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17950D77-EE32-343E-49B9-B05A8E07A5E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7EC5DF3C-DE20-10B5-BC54-A1A3E7A30280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C1ACEA79-44A0-E442-A703-86EF0D23E4FE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32F50FE5-CA97-98BE-3DDB-4621A01C6AD9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ABCA37A4-FA28-CDD9-BE13-994FB0F54C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D8FAE3D-B686-51E7-E7D7-1CA3A8E12E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064" y="1983932"/>
            <a:ext cx="3431871" cy="457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9614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B961EA-B8C4-0BE0-1B05-285C575AE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605EAD6B-BD12-B0BB-FAB9-0A4B72340A60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15 UNIMARC - AV. PARQUE INDUSTRIAL 300,  PUERTO MONTT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E88D633B-09F4-38AF-8429-95AD6972CD90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5E440E5A-C563-F572-1F5F-80B62086FCE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3811D378-F409-5DC6-7974-D3ED0C9FD764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3C8AA5B4-7F33-3B3B-FAA0-8F6F90E7FAB6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CB15E520-9699-B5C1-395E-F1D1EE929D5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3750B077-25C4-31CA-730A-58D7D1ED083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16F0B790-3A12-1532-C39B-7BC8FF1E34EB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41D13128-8EEE-FF86-4B78-CEE9A7B3CC39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9BB059A8-31B5-FDBF-C878-CBE7A5F06238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9F087DC7-FD4B-3EA1-EFEA-4747629BFE6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DBC76A26-9580-3620-7A17-3538D89C64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2401"/>
            <a:ext cx="3413282" cy="455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8399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6BD99-1596-E5F8-9E5A-534B07F77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E24695D5-5C2C-4681-DBA7-1E36230CBFC4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pt-B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8 UNIMARC - JOSE MIGUEL CARRERA 1527,  ANTOFAGASTA</a:t>
            </a:r>
            <a:r>
              <a:rPr lang="pt-BR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C9E7220B-223E-C651-4440-0EECE5A8F2C2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82809FDD-E186-B9FB-F7C9-11C23995810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BD9BD2FB-F5DB-181D-BD1A-1BC9668976C0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E6DEFE59-631C-76D3-DF0F-BEF10433D622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F3E823A2-0590-432E-9A8A-809AB4CBC9C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0D40D937-F2C9-B1A4-E6F1-944F8BF620E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263CE6A7-83CE-56EC-AE36-AE52A3005A24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9688ABBF-6435-C809-FEC2-6867F7CC9AF3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ADC6194B-687C-A6F1-0F7D-B9252A7BB528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448C93DD-A972-D349-7FF8-5AD888B85A8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449C13C-0D4B-2437-5F94-7038498411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0011" y="2040157"/>
            <a:ext cx="2551700" cy="4536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7305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3D9D9-FA95-D38D-0E83-D2F5665448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19CD000-6EAE-3163-993E-EBABE4EC6815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it-IT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8 UNIMARC - BRASIL 715,  LA SERENA</a:t>
            </a:r>
            <a:r>
              <a:rPr lang="it-IT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829B650-6C6D-7BDD-2146-7EDBED327D50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4BD28A66-68DF-A520-440F-5C97A93DB5D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DABC70E5-5F46-870E-05D1-146CFFCB7CB1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D9079C4E-1766-8781-8594-DC1EADD11E2A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1DC25955-995F-7169-4A63-2884632F059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5BAEE185-E72E-26E2-71AE-2C8A15FEC3A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90EB228E-5E88-3AB5-555A-07AE74070C1A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A9DF61DF-3526-906E-BFF7-76DDADB8E70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D2339857-7C6A-9518-0218-F5F44E0F3E01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5C22AF0B-203B-7118-2615-AC52548084B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82727D1-31A5-7DD6-056D-A31A1FA7DF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3649" y="2044715"/>
            <a:ext cx="3349614" cy="4466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1960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1F216E-C9D8-43A0-DD2C-1F801DFB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76D14588-2BFB-4856-F0B1-1936671007B6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 UNIMARC - FRANCISCO VARELA 1480,  COQUIMBO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8EDE07F2-EB2A-1C14-9018-0B801791CFF2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4E3B6976-284E-01CC-CFA7-B5E2871BD7F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B9908E05-A099-69E6-E412-790D80FF89F7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A4303DB7-01BF-FA9D-465A-567CE9B3DF8F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8DA63080-0E62-4088-150A-C4DD2FDEAC0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25B81F22-3A43-552F-5274-ADE709E8351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FC8F288-56C2-8ADD-5464-85191EBE295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5C0C10B5-E3B8-8859-50E9-16873B5A6318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CBCF2396-231E-8919-A171-2C867183E200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8CFB2D5E-D168-2BFD-DC4E-2205943EEE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4AF5621-CC64-5FD0-784D-E21C4B8B4D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482" y="2012401"/>
            <a:ext cx="3402518" cy="4536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2906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838B99-B802-E048-8D3A-676DFF7D78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4236C51C-7F41-4F00-BD8E-D308F0686904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it-IT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1 UNIMARC - ALESSANDRI 531,  COQUIMBO</a:t>
            </a:r>
            <a:r>
              <a:rPr lang="it-IT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B39A8867-18A9-35F9-28BE-B7AA1D16FC99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AFC64E79-0A3F-6592-5A7B-E90281EBCCF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72135206-2342-2ECE-0D53-DE405D953781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1292378F-A428-45B4-25F0-E5AB6FD472F6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27BD9299-F826-96EC-EB7E-0A0C3F760EA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FCF2FBBD-DC21-6BC1-4B7B-06746E7799E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646BB979-B99F-FAE4-8667-BCD3C91C24CB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9EDEC3BD-4818-D869-1876-37D970E4974D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FE119386-CA08-FB60-4759-0A276AA4E4E1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E9F91935-A15A-6D3C-0607-B40A4FDD2C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1FEBD2A0-3C31-9FB9-EA7B-D94CD34326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1243" y="2060774"/>
            <a:ext cx="2849235" cy="4440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8287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36FC8-11C5-D764-E9B9-381BE33FB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C545B784-183B-40A0-4AFC-7AD524EF3C37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7 UNIMARC - LOS ALAMOS 580,  COQUIMBO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DCA99A2D-9777-0B6A-C2D8-AEA5BF40AA22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28BC7344-2C19-9988-F3D2-8F81B92EFE67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D2E33432-BDC9-BA18-9605-28F97611AEF2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38E88C20-E07E-96D8-4FA8-6C8F305DEEB8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91E86ECF-75CD-99DF-42D5-463628A37F3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177A44D1-68B8-794A-6E63-814BCA9B92D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3ECC4A7B-A54D-C489-A626-D000FF34D59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D04A0697-C596-EB69-1C21-C361474A7233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DDB777BC-5730-D330-12BC-44F842626C8D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CD2E6293-C6CE-08FC-9583-817E2D0849B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030A010-103A-9FA1-2A48-BD5E124CFE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554" y="2115520"/>
            <a:ext cx="3330613" cy="4440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194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5C994-A422-9AD0-ECA6-E6644B013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FA344892-4A38-0CE1-464A-60ED512B3D83}"/>
              </a:ext>
            </a:extLst>
          </p:cNvPr>
          <p:cNvSpPr txBox="1">
            <a:spLocks/>
          </p:cNvSpPr>
          <p:nvPr/>
        </p:nvSpPr>
        <p:spPr>
          <a:xfrm>
            <a:off x="443423" y="240775"/>
            <a:ext cx="7778027" cy="3664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22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RESUMEN GENERAL POR MATERIAL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068E69F3-8499-CBD1-32E6-E67A8D22FBF5}"/>
              </a:ext>
            </a:extLst>
          </p:cNvPr>
          <p:cNvSpPr/>
          <p:nvPr/>
        </p:nvSpPr>
        <p:spPr>
          <a:xfrm>
            <a:off x="4054990" y="1115650"/>
            <a:ext cx="30171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REVESTIMIENTO DE CABECERA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75491B2D-ECA0-F6A9-511B-5D9A40CDDAEC}"/>
              </a:ext>
            </a:extLst>
          </p:cNvPr>
          <p:cNvCxnSpPr>
            <a:cxnSpLocks/>
          </p:cNvCxnSpPr>
          <p:nvPr/>
        </p:nvCxnSpPr>
        <p:spPr>
          <a:xfrm>
            <a:off x="542575" y="737136"/>
            <a:ext cx="10951975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áfico 31" descr="Checkbox Checked con relleno sólido">
            <a:extLst>
              <a:ext uri="{FF2B5EF4-FFF2-40B4-BE49-F238E27FC236}">
                <a16:creationId xmlns:a16="http://schemas.microsoft.com/office/drawing/2014/main" id="{645004C2-38EB-3652-6751-5DA967767B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28971" y="2354976"/>
            <a:ext cx="929273" cy="929273"/>
          </a:xfrm>
          <a:prstGeom prst="rect">
            <a:avLst/>
          </a:prstGeom>
        </p:spPr>
      </p:pic>
      <p:sp>
        <p:nvSpPr>
          <p:cNvPr id="37" name="CuadroTexto 36">
            <a:extLst>
              <a:ext uri="{FF2B5EF4-FFF2-40B4-BE49-F238E27FC236}">
                <a16:creationId xmlns:a16="http://schemas.microsoft.com/office/drawing/2014/main" id="{5FA24408-B540-5B24-EBE7-4D5C41347EBE}"/>
              </a:ext>
            </a:extLst>
          </p:cNvPr>
          <p:cNvSpPr txBox="1"/>
          <p:nvPr/>
        </p:nvSpPr>
        <p:spPr>
          <a:xfrm>
            <a:off x="8246358" y="2369513"/>
            <a:ext cx="14994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IMPLEMENTADOS</a:t>
            </a:r>
          </a:p>
          <a:p>
            <a:r>
              <a:rPr lang="es-CL" sz="3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31	     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29C5D955-3B05-A276-5B92-9635EAE9BC86}"/>
              </a:ext>
            </a:extLst>
          </p:cNvPr>
          <p:cNvSpPr txBox="1"/>
          <p:nvPr/>
        </p:nvSpPr>
        <p:spPr>
          <a:xfrm>
            <a:off x="8246357" y="3183669"/>
            <a:ext cx="19221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% IMPLEMENTADO</a:t>
            </a:r>
          </a:p>
          <a:p>
            <a:r>
              <a:rPr lang="es-CL" sz="30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88,6%     </a:t>
            </a:r>
          </a:p>
        </p:txBody>
      </p:sp>
      <p:pic>
        <p:nvPicPr>
          <p:cNvPr id="39" name="Gráfico 38" descr="Checkbox Checked con relleno sólido">
            <a:extLst>
              <a:ext uri="{FF2B5EF4-FFF2-40B4-BE49-F238E27FC236}">
                <a16:creationId xmlns:a16="http://schemas.microsoft.com/office/drawing/2014/main" id="{928CF069-2A46-7396-CB48-A47354815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28971" y="3183669"/>
            <a:ext cx="929273" cy="929273"/>
          </a:xfrm>
          <a:prstGeom prst="rect">
            <a:avLst/>
          </a:prstGeom>
        </p:spPr>
      </p:pic>
      <p:pic>
        <p:nvPicPr>
          <p:cNvPr id="4" name="Imagen 3" descr="Forma&#10;&#10;El contenido generado por IA puede ser incorrecto.">
            <a:extLst>
              <a:ext uri="{FF2B5EF4-FFF2-40B4-BE49-F238E27FC236}">
                <a16:creationId xmlns:a16="http://schemas.microsoft.com/office/drawing/2014/main" id="{F388C030-145F-9276-0BB8-647373131A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2033" y="-327948"/>
            <a:ext cx="1407736" cy="1407736"/>
          </a:xfrm>
          <a:prstGeom prst="rect">
            <a:avLst/>
          </a:prstGeom>
        </p:spPr>
      </p:pic>
      <p:pic>
        <p:nvPicPr>
          <p:cNvPr id="7" name="Imagen 6" descr="Una lata de una tienda&#10;&#10;El contenido generado por IA puede ser incorrecto.">
            <a:extLst>
              <a:ext uri="{FF2B5EF4-FFF2-40B4-BE49-F238E27FC236}">
                <a16:creationId xmlns:a16="http://schemas.microsoft.com/office/drawing/2014/main" id="{86DBE804-2DFB-0E70-1754-39D21C6093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1295" y="1549766"/>
            <a:ext cx="3604499" cy="4805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2822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26C7CC-625D-1C83-A934-000469F9F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1BB5A057-7402-70F3-6287-83D317ACB7A7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63 UNIMARC - AVDA.JUAN SOLER MANFREDI 51,  PUERTO MONTT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CCE20EE3-CD8C-3576-7D5F-36A8760EE6CD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B46107FE-514E-685E-0652-9F5AC97F4151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54787A31-8774-1CE1-9B4E-5A84BCC1A365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96934789-22FA-94F3-CAA7-AD2F7CD7CA92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F4EE6C54-0657-7FE8-9494-54155D18083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BF72C979-153B-BF96-2E58-63E0AFF9239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FF816149-D072-4C7F-6C65-485DC4594CFC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3529B449-BB0B-2D24-60A1-375A5EADA903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F600C06F-ACDC-A415-E381-BBBDBBFA48BC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A9A8EEAC-5F42-4310-A32F-FA767AA7771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2A0D983-4CED-011A-FB71-3404CEA005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062" y="2019982"/>
            <a:ext cx="3379876" cy="4506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889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EE865E-B336-01F0-B466-691934F0B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CE2BD9BE-EF04-3647-8A2C-9536E8FBBF68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 UNIMARC - NICARAGUA 1571,  LA SERENA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6E43C27A-7604-1015-6ECC-6BE1FA054AA4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51CC1367-75F5-2AE4-4F63-17FBFCA48A7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1165C3CB-056D-1F8E-5012-396B271CE69C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C6FA8047-040F-B6F4-0632-05F324DD3F3E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949184D0-8125-9D45-D1E0-1A3BBA15B4ED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6AC865F7-61B2-14CB-74DA-520D0E079BB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42FECC38-2BED-4970-93BE-C7FE34E133FA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12F8A6D8-9506-8ED0-13DF-D8C89A15D60E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C438120A-D9E8-4DB7-E88D-56CAF022283E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6A88E6D8-1F76-42C5-52B0-944836C88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3C35F0FA-5FAA-003A-F2DB-9C8644CFF1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322" y="2073184"/>
            <a:ext cx="3323079" cy="443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6742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FB31FA-64F8-ED0C-9F49-A69614ED91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F0F4FEDD-2451-5CA9-191A-612C0ECBD634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681 UNIMARC - AVDA 18 SEPTIEMBRE 2501,  ARICA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4D40046D-C097-EB65-417B-60678D9944D8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29E6AC5E-C9F0-B1A0-1050-4CA89972ECB1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150CB608-CEDC-F6DD-C28A-12BB6DCF95FB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E51E5D4F-D657-FEF0-25B8-4DEB54A8EF26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539E53CA-EC2E-D381-FFB4-2D334CA547F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AD40A703-74E9-7807-D468-F02C5A70265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2A6B21B0-B1BF-4C46-264C-D892A6E3068A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C40D62F8-FB1E-A4E0-255A-2E8091726DBC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36A45977-1093-5C98-1D2E-81E4066AACCB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6925B782-74FD-4561-AEEF-DDC52A9C27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D8486CE2-1E59-EA09-2AB5-E125F7C0C6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637" y="2073184"/>
            <a:ext cx="3339963" cy="445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5162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A6299-2564-A9A8-A848-2208CA505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DB5A3F8D-E9CC-CC4C-7698-436B22C3D1EA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77 UNIMARC - PATRICIO LYNCH (L075) 1278,  OSORNO</a:t>
            </a:r>
            <a:r>
              <a:rPr lang="es-CL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26FD75C7-B62B-79EE-61F2-9683D6E40C5B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B4CEC51A-50B9-D547-22B6-6F26F24EA4B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AB01D8A4-AA96-715B-386B-DB69514DAC9C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2F733957-3225-7324-3E00-0A2287BDEBB8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772F22AD-30AD-435A-5781-E9440714CE6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3344363F-B854-3356-45D3-FCA49F18FD4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FA784EEB-9057-F35E-5237-32BA72D0DA9A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F9BDF8A6-8B62-627D-F21D-E81A9EF2D355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65CEFB94-2CF2-C93C-47D6-5046B2EA99A1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D1E9C022-39E4-EA72-FFDB-5B96290FE6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773BFF4F-3D3A-49E2-B9DA-4FE80EC00B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829" y="2044715"/>
            <a:ext cx="3388342" cy="4517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5624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F7A0CC-6D13-1ED1-D9C5-7CE78D661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F4F98DF5-E255-9100-5E5F-436B79265FC9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78 UNIMARC - JULIO BUSCHMAN (L076) 2223,  OSORNO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D40DE238-241D-6D6B-3704-31203535966A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72629AE0-1A2F-94DC-5E57-F3417F17F5E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E9EA5215-1499-97D0-1608-A0D03955E4E7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13B14136-DECF-6503-B902-85EA2448AC24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69D2F8E3-96FC-FB46-578E-4B1099FDA22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42E53798-E02C-F63D-3AB1-502DFFBD3CD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867E03BD-145F-AAE7-5AC8-C7E56A7ECE6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F0865B09-9861-D722-1022-746F66067315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9794756B-ED0F-582E-F266-D342120564AD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93A9BCA5-CE77-3FA7-75F9-B71F735D49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FBB7221-CD37-4A27-3493-9F193F682F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221" y="2019982"/>
            <a:ext cx="3413282" cy="4551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4368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9E2132-CBB2-3613-CF8F-8DDDF5D45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719FEE8C-B776-81DD-641B-A309A330B0B4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23 UNIMARC - AV. SANTA MARÍA 2465,  ARICA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5E2A5758-DFAB-25F3-6359-48B6580D4E1E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E5524B96-CC2B-CAEF-A87E-7BA127C5D45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1FF59B23-E3CD-A63D-126E-57838B49E932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0DFCF97D-D6C6-C4C7-A1F9-0AC78B59A01C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2FBF4E94-DF08-F119-C8DF-3B35844681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8950993E-2A2E-1799-0A31-9BE303C43F7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20DF4B6D-3731-0D02-0F1C-CC42D3A646FD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DD550D25-2FDA-D009-65E3-CED3BD771AB2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1EDC116F-1B38-D891-8C28-E49196B260F5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153AA464-CF4C-0A49-86F4-E9C0BD7B0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33643078-2047-00B5-F8EE-A9293AA23B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761" y="2019982"/>
            <a:ext cx="3376200" cy="45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0948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317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71DD8C-D8BD-7C49-D6C5-A82B9A188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agen 35" descr="Un dibujo de una persona&#10;&#10;El contenido generado por IA puede ser incorrecto.">
            <a:extLst>
              <a:ext uri="{FF2B5EF4-FFF2-40B4-BE49-F238E27FC236}">
                <a16:creationId xmlns:a16="http://schemas.microsoft.com/office/drawing/2014/main" id="{4B6CBBAE-25E2-1460-1C36-316463FB1A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951656" y="-2020485"/>
            <a:ext cx="5180050" cy="11264725"/>
          </a:xfrm>
          <a:prstGeom prst="rect">
            <a:avLst/>
          </a:prstGeom>
        </p:spPr>
      </p:pic>
      <p:sp>
        <p:nvSpPr>
          <p:cNvPr id="2" name="Marcador de contenido 2">
            <a:extLst>
              <a:ext uri="{FF2B5EF4-FFF2-40B4-BE49-F238E27FC236}">
                <a16:creationId xmlns:a16="http://schemas.microsoft.com/office/drawing/2014/main" id="{542F8AEA-E0BF-ACEE-AF46-1B1B212FE84E}"/>
              </a:ext>
            </a:extLst>
          </p:cNvPr>
          <p:cNvSpPr txBox="1">
            <a:spLocks/>
          </p:cNvSpPr>
          <p:nvPr/>
        </p:nvSpPr>
        <p:spPr>
          <a:xfrm>
            <a:off x="443423" y="240775"/>
            <a:ext cx="7778027" cy="3664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22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RESUMEN GENERAL IMPLEMENTACION REGIONAL 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3FDE2C37-993D-925A-49DB-DC4C9C3793E4}"/>
              </a:ext>
            </a:extLst>
          </p:cNvPr>
          <p:cNvSpPr/>
          <p:nvPr/>
        </p:nvSpPr>
        <p:spPr>
          <a:xfrm>
            <a:off x="4555405" y="4481535"/>
            <a:ext cx="20685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3 - METROPOLITANA DE SANTIAGO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09E53CDD-4E71-1B11-FF83-998B83C055C9}"/>
              </a:ext>
            </a:extLst>
          </p:cNvPr>
          <p:cNvSpPr/>
          <p:nvPr/>
        </p:nvSpPr>
        <p:spPr>
          <a:xfrm>
            <a:off x="4555405" y="4827484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5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8C556D7C-652E-695A-9288-520FA16978A5}"/>
              </a:ext>
            </a:extLst>
          </p:cNvPr>
          <p:cNvSpPr/>
          <p:nvPr/>
        </p:nvSpPr>
        <p:spPr>
          <a:xfrm>
            <a:off x="4565565" y="4985602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5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30" name="Rectángulo 1029">
            <a:extLst>
              <a:ext uri="{FF2B5EF4-FFF2-40B4-BE49-F238E27FC236}">
                <a16:creationId xmlns:a16="http://schemas.microsoft.com/office/drawing/2014/main" id="{C1818634-6263-7744-1F00-6EC01BDD8CC5}"/>
              </a:ext>
            </a:extLst>
          </p:cNvPr>
          <p:cNvSpPr/>
          <p:nvPr/>
        </p:nvSpPr>
        <p:spPr>
          <a:xfrm>
            <a:off x="1834048" y="4415433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02 - ANTOFAGASTA</a:t>
            </a:r>
          </a:p>
        </p:txBody>
      </p:sp>
      <p:sp>
        <p:nvSpPr>
          <p:cNvPr id="1031" name="Rectángulo 1030">
            <a:extLst>
              <a:ext uri="{FF2B5EF4-FFF2-40B4-BE49-F238E27FC236}">
                <a16:creationId xmlns:a16="http://schemas.microsoft.com/office/drawing/2014/main" id="{348FD40F-1B52-2762-2BBB-C0B3D7BD729D}"/>
              </a:ext>
            </a:extLst>
          </p:cNvPr>
          <p:cNvSpPr/>
          <p:nvPr/>
        </p:nvSpPr>
        <p:spPr>
          <a:xfrm>
            <a:off x="1834048" y="4608982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4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32" name="Rectángulo 1031">
            <a:extLst>
              <a:ext uri="{FF2B5EF4-FFF2-40B4-BE49-F238E27FC236}">
                <a16:creationId xmlns:a16="http://schemas.microsoft.com/office/drawing/2014/main" id="{2C844A55-4069-213C-4464-548A1AAD938C}"/>
              </a:ext>
            </a:extLst>
          </p:cNvPr>
          <p:cNvSpPr/>
          <p:nvPr/>
        </p:nvSpPr>
        <p:spPr>
          <a:xfrm>
            <a:off x="1844208" y="4767100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4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33" name="Diagrama de flujo: conector 1032">
            <a:extLst>
              <a:ext uri="{FF2B5EF4-FFF2-40B4-BE49-F238E27FC236}">
                <a16:creationId xmlns:a16="http://schemas.microsoft.com/office/drawing/2014/main" id="{CF0F0DC8-49AC-B12B-5A46-38BC5984BA97}"/>
              </a:ext>
            </a:extLst>
          </p:cNvPr>
          <p:cNvSpPr/>
          <p:nvPr/>
        </p:nvSpPr>
        <p:spPr>
          <a:xfrm>
            <a:off x="2865120" y="3239763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034" name="Conector recto de flecha 1033">
            <a:extLst>
              <a:ext uri="{FF2B5EF4-FFF2-40B4-BE49-F238E27FC236}">
                <a16:creationId xmlns:a16="http://schemas.microsoft.com/office/drawing/2014/main" id="{21D20B55-816F-E463-A079-2F8FB90A6CC7}"/>
              </a:ext>
            </a:extLst>
          </p:cNvPr>
          <p:cNvCxnSpPr>
            <a:cxnSpLocks/>
          </p:cNvCxnSpPr>
          <p:nvPr/>
        </p:nvCxnSpPr>
        <p:spPr>
          <a:xfrm>
            <a:off x="2926080" y="3347763"/>
            <a:ext cx="0" cy="9977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37" name="Diagrama de flujo: conector 1036">
            <a:extLst>
              <a:ext uri="{FF2B5EF4-FFF2-40B4-BE49-F238E27FC236}">
                <a16:creationId xmlns:a16="http://schemas.microsoft.com/office/drawing/2014/main" id="{F1E8083D-BE95-86CA-AEE1-D43688FEB54E}"/>
              </a:ext>
            </a:extLst>
          </p:cNvPr>
          <p:cNvSpPr/>
          <p:nvPr/>
        </p:nvSpPr>
        <p:spPr>
          <a:xfrm>
            <a:off x="3759200" y="3279577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038" name="Conector recto de flecha 1037">
            <a:extLst>
              <a:ext uri="{FF2B5EF4-FFF2-40B4-BE49-F238E27FC236}">
                <a16:creationId xmlns:a16="http://schemas.microsoft.com/office/drawing/2014/main" id="{80D4750C-242E-CFDC-422B-66C7CEFCB631}"/>
              </a:ext>
            </a:extLst>
          </p:cNvPr>
          <p:cNvCxnSpPr>
            <a:cxnSpLocks/>
            <a:stCxn id="1037" idx="0"/>
          </p:cNvCxnSpPr>
          <p:nvPr/>
        </p:nvCxnSpPr>
        <p:spPr>
          <a:xfrm flipV="1">
            <a:off x="3813200" y="1944003"/>
            <a:ext cx="0" cy="133557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42" name="Rectángulo 1041">
            <a:extLst>
              <a:ext uri="{FF2B5EF4-FFF2-40B4-BE49-F238E27FC236}">
                <a16:creationId xmlns:a16="http://schemas.microsoft.com/office/drawing/2014/main" id="{135EF1D8-03DC-E58F-76D9-C45833372027}"/>
              </a:ext>
            </a:extLst>
          </p:cNvPr>
          <p:cNvSpPr/>
          <p:nvPr/>
        </p:nvSpPr>
        <p:spPr>
          <a:xfrm>
            <a:off x="2893807" y="1283843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03 - ATACAMA</a:t>
            </a:r>
          </a:p>
        </p:txBody>
      </p:sp>
      <p:sp>
        <p:nvSpPr>
          <p:cNvPr id="1043" name="Rectángulo 1042">
            <a:extLst>
              <a:ext uri="{FF2B5EF4-FFF2-40B4-BE49-F238E27FC236}">
                <a16:creationId xmlns:a16="http://schemas.microsoft.com/office/drawing/2014/main" id="{C543CDE3-476A-48AE-2488-63E34CA01F71}"/>
              </a:ext>
            </a:extLst>
          </p:cNvPr>
          <p:cNvSpPr/>
          <p:nvPr/>
        </p:nvSpPr>
        <p:spPr>
          <a:xfrm>
            <a:off x="2893807" y="1477392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2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44" name="Rectángulo 1043">
            <a:extLst>
              <a:ext uri="{FF2B5EF4-FFF2-40B4-BE49-F238E27FC236}">
                <a16:creationId xmlns:a16="http://schemas.microsoft.com/office/drawing/2014/main" id="{75217D0D-44B5-E3A2-251A-77CEE7E25D9F}"/>
              </a:ext>
            </a:extLst>
          </p:cNvPr>
          <p:cNvSpPr/>
          <p:nvPr/>
        </p:nvSpPr>
        <p:spPr>
          <a:xfrm>
            <a:off x="2903967" y="1635510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9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2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46" name="Rectángulo 1045">
            <a:extLst>
              <a:ext uri="{FF2B5EF4-FFF2-40B4-BE49-F238E27FC236}">
                <a16:creationId xmlns:a16="http://schemas.microsoft.com/office/drawing/2014/main" id="{C6904B49-1FCB-7A60-572B-40DEC382B9F4}"/>
              </a:ext>
            </a:extLst>
          </p:cNvPr>
          <p:cNvSpPr/>
          <p:nvPr/>
        </p:nvSpPr>
        <p:spPr>
          <a:xfrm>
            <a:off x="3268948" y="5473210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04 - COQUIMBO</a:t>
            </a:r>
          </a:p>
        </p:txBody>
      </p:sp>
      <p:sp>
        <p:nvSpPr>
          <p:cNvPr id="1047" name="Rectángulo 1046">
            <a:extLst>
              <a:ext uri="{FF2B5EF4-FFF2-40B4-BE49-F238E27FC236}">
                <a16:creationId xmlns:a16="http://schemas.microsoft.com/office/drawing/2014/main" id="{7D248A4E-A137-665D-61CD-12475CD0CE80}"/>
              </a:ext>
            </a:extLst>
          </p:cNvPr>
          <p:cNvSpPr/>
          <p:nvPr/>
        </p:nvSpPr>
        <p:spPr>
          <a:xfrm>
            <a:off x="3268948" y="5666759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9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5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 | 83,3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48" name="Rectángulo 1047">
            <a:extLst>
              <a:ext uri="{FF2B5EF4-FFF2-40B4-BE49-F238E27FC236}">
                <a16:creationId xmlns:a16="http://schemas.microsoft.com/office/drawing/2014/main" id="{D0C6BDFF-B9D3-8C7E-251B-9DC641082D2F}"/>
              </a:ext>
            </a:extLst>
          </p:cNvPr>
          <p:cNvSpPr/>
          <p:nvPr/>
        </p:nvSpPr>
        <p:spPr>
          <a:xfrm>
            <a:off x="3279108" y="5824877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5 | 83,3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49" name="Diagrama de flujo: conector 1048">
            <a:extLst>
              <a:ext uri="{FF2B5EF4-FFF2-40B4-BE49-F238E27FC236}">
                <a16:creationId xmlns:a16="http://schemas.microsoft.com/office/drawing/2014/main" id="{469B6D41-1DE3-EE13-1FA5-CEAE04FC9CEC}"/>
              </a:ext>
            </a:extLst>
          </p:cNvPr>
          <p:cNvSpPr/>
          <p:nvPr/>
        </p:nvSpPr>
        <p:spPr>
          <a:xfrm>
            <a:off x="4368800" y="3634248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050" name="Conector recto de flecha 1049">
            <a:extLst>
              <a:ext uri="{FF2B5EF4-FFF2-40B4-BE49-F238E27FC236}">
                <a16:creationId xmlns:a16="http://schemas.microsoft.com/office/drawing/2014/main" id="{97EFA116-E289-01BD-CEC4-C4ED185F9FC7}"/>
              </a:ext>
            </a:extLst>
          </p:cNvPr>
          <p:cNvCxnSpPr>
            <a:cxnSpLocks/>
          </p:cNvCxnSpPr>
          <p:nvPr/>
        </p:nvCxnSpPr>
        <p:spPr>
          <a:xfrm>
            <a:off x="4429760" y="3742248"/>
            <a:ext cx="0" cy="173096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52" name="Rectángulo 1051">
            <a:extLst>
              <a:ext uri="{FF2B5EF4-FFF2-40B4-BE49-F238E27FC236}">
                <a16:creationId xmlns:a16="http://schemas.microsoft.com/office/drawing/2014/main" id="{4F5081CB-4A33-CA9A-89DC-F78E6412D196}"/>
              </a:ext>
            </a:extLst>
          </p:cNvPr>
          <p:cNvSpPr/>
          <p:nvPr/>
        </p:nvSpPr>
        <p:spPr>
          <a:xfrm>
            <a:off x="4160688" y="2322473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05 - VALPARAISO</a:t>
            </a:r>
          </a:p>
        </p:txBody>
      </p:sp>
      <p:sp>
        <p:nvSpPr>
          <p:cNvPr id="1053" name="Rectángulo 1052">
            <a:extLst>
              <a:ext uri="{FF2B5EF4-FFF2-40B4-BE49-F238E27FC236}">
                <a16:creationId xmlns:a16="http://schemas.microsoft.com/office/drawing/2014/main" id="{26D52E76-AB45-CD24-E4AE-B0BC61FDA5D0}"/>
              </a:ext>
            </a:extLst>
          </p:cNvPr>
          <p:cNvSpPr/>
          <p:nvPr/>
        </p:nvSpPr>
        <p:spPr>
          <a:xfrm>
            <a:off x="4160688" y="2516022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54" name="Rectángulo 1053">
            <a:extLst>
              <a:ext uri="{FF2B5EF4-FFF2-40B4-BE49-F238E27FC236}">
                <a16:creationId xmlns:a16="http://schemas.microsoft.com/office/drawing/2014/main" id="{A0BF2586-38F7-61B5-1ABB-51D5F784AC67}"/>
              </a:ext>
            </a:extLst>
          </p:cNvPr>
          <p:cNvSpPr/>
          <p:nvPr/>
        </p:nvSpPr>
        <p:spPr>
          <a:xfrm>
            <a:off x="4170848" y="2674140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55" name="Diagrama de flujo: conector 1054">
            <a:extLst>
              <a:ext uri="{FF2B5EF4-FFF2-40B4-BE49-F238E27FC236}">
                <a16:creationId xmlns:a16="http://schemas.microsoft.com/office/drawing/2014/main" id="{0FAD3B4C-F4A9-7DFB-4F70-FBC1260CF951}"/>
              </a:ext>
            </a:extLst>
          </p:cNvPr>
          <p:cNvSpPr/>
          <p:nvPr/>
        </p:nvSpPr>
        <p:spPr>
          <a:xfrm>
            <a:off x="5181600" y="3564883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056" name="Conector recto de flecha 1055">
            <a:extLst>
              <a:ext uri="{FF2B5EF4-FFF2-40B4-BE49-F238E27FC236}">
                <a16:creationId xmlns:a16="http://schemas.microsoft.com/office/drawing/2014/main" id="{11E7E463-8F85-95B3-6722-CAE00BBB9F3C}"/>
              </a:ext>
            </a:extLst>
          </p:cNvPr>
          <p:cNvCxnSpPr>
            <a:cxnSpLocks/>
            <a:stCxn id="1055" idx="0"/>
          </p:cNvCxnSpPr>
          <p:nvPr/>
        </p:nvCxnSpPr>
        <p:spPr>
          <a:xfrm flipV="1">
            <a:off x="5235600" y="2997200"/>
            <a:ext cx="0" cy="56768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59" name="Diagrama de flujo: conector 1058">
            <a:extLst>
              <a:ext uri="{FF2B5EF4-FFF2-40B4-BE49-F238E27FC236}">
                <a16:creationId xmlns:a16="http://schemas.microsoft.com/office/drawing/2014/main" id="{7B88E7BB-32AF-E2E1-5D02-48EA8CA7E184}"/>
              </a:ext>
            </a:extLst>
          </p:cNvPr>
          <p:cNvSpPr/>
          <p:nvPr/>
        </p:nvSpPr>
        <p:spPr>
          <a:xfrm>
            <a:off x="5431670" y="3562054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060" name="Conector recto de flecha 1059">
            <a:extLst>
              <a:ext uri="{FF2B5EF4-FFF2-40B4-BE49-F238E27FC236}">
                <a16:creationId xmlns:a16="http://schemas.microsoft.com/office/drawing/2014/main" id="{E21E8ED0-8754-08B1-B3A0-8F6455C182EA}"/>
              </a:ext>
            </a:extLst>
          </p:cNvPr>
          <p:cNvCxnSpPr>
            <a:cxnSpLocks/>
          </p:cNvCxnSpPr>
          <p:nvPr/>
        </p:nvCxnSpPr>
        <p:spPr>
          <a:xfrm>
            <a:off x="5492630" y="3670054"/>
            <a:ext cx="10160" cy="7579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64" name="Diagrama de flujo: conector 1063">
            <a:extLst>
              <a:ext uri="{FF2B5EF4-FFF2-40B4-BE49-F238E27FC236}">
                <a16:creationId xmlns:a16="http://schemas.microsoft.com/office/drawing/2014/main" id="{AFF8D051-CCC0-00AB-5B61-201126F50713}"/>
              </a:ext>
            </a:extLst>
          </p:cNvPr>
          <p:cNvSpPr/>
          <p:nvPr/>
        </p:nvSpPr>
        <p:spPr>
          <a:xfrm>
            <a:off x="5655190" y="3602694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068" name="Conector recto de flecha 1067">
            <a:extLst>
              <a:ext uri="{FF2B5EF4-FFF2-40B4-BE49-F238E27FC236}">
                <a16:creationId xmlns:a16="http://schemas.microsoft.com/office/drawing/2014/main" id="{2E84005F-3A20-C0EA-8B55-849B997FFDA8}"/>
              </a:ext>
            </a:extLst>
          </p:cNvPr>
          <p:cNvCxnSpPr>
            <a:cxnSpLocks/>
          </p:cNvCxnSpPr>
          <p:nvPr/>
        </p:nvCxnSpPr>
        <p:spPr>
          <a:xfrm flipV="1">
            <a:off x="6396094" y="1916128"/>
            <a:ext cx="4706" cy="11341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72" name="Conector recto 1071">
            <a:extLst>
              <a:ext uri="{FF2B5EF4-FFF2-40B4-BE49-F238E27FC236}">
                <a16:creationId xmlns:a16="http://schemas.microsoft.com/office/drawing/2014/main" id="{F3E85B93-64B3-BCD8-43DD-0B58F0E1E6EF}"/>
              </a:ext>
            </a:extLst>
          </p:cNvPr>
          <p:cNvCxnSpPr>
            <a:cxnSpLocks/>
            <a:stCxn id="1064" idx="6"/>
          </p:cNvCxnSpPr>
          <p:nvPr/>
        </p:nvCxnSpPr>
        <p:spPr>
          <a:xfrm flipV="1">
            <a:off x="5763190" y="3036897"/>
            <a:ext cx="637610" cy="61979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76" name="Rectángulo 1075">
            <a:extLst>
              <a:ext uri="{FF2B5EF4-FFF2-40B4-BE49-F238E27FC236}">
                <a16:creationId xmlns:a16="http://schemas.microsoft.com/office/drawing/2014/main" id="{EB62D845-AF79-4CC2-F534-9A77A4BB4C77}"/>
              </a:ext>
            </a:extLst>
          </p:cNvPr>
          <p:cNvSpPr/>
          <p:nvPr/>
        </p:nvSpPr>
        <p:spPr>
          <a:xfrm>
            <a:off x="5413823" y="1013585"/>
            <a:ext cx="206854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06 - LIBERTADOR GENERAL BERNARDO OHIGGINS</a:t>
            </a:r>
          </a:p>
        </p:txBody>
      </p:sp>
      <p:sp>
        <p:nvSpPr>
          <p:cNvPr id="1077" name="Rectángulo 1076">
            <a:extLst>
              <a:ext uri="{FF2B5EF4-FFF2-40B4-BE49-F238E27FC236}">
                <a16:creationId xmlns:a16="http://schemas.microsoft.com/office/drawing/2014/main" id="{E01AF637-F9CC-99D1-C255-FCE1B63B64EC}"/>
              </a:ext>
            </a:extLst>
          </p:cNvPr>
          <p:cNvSpPr/>
          <p:nvPr/>
        </p:nvSpPr>
        <p:spPr>
          <a:xfrm>
            <a:off x="5371794" y="1511789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78" name="Rectángulo 1077">
            <a:extLst>
              <a:ext uri="{FF2B5EF4-FFF2-40B4-BE49-F238E27FC236}">
                <a16:creationId xmlns:a16="http://schemas.microsoft.com/office/drawing/2014/main" id="{347AC9DA-282C-FCE3-4A3E-56F2B5C1366E}"/>
              </a:ext>
            </a:extLst>
          </p:cNvPr>
          <p:cNvSpPr/>
          <p:nvPr/>
        </p:nvSpPr>
        <p:spPr>
          <a:xfrm>
            <a:off x="5381954" y="1669907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81" name="Diagrama de flujo: conector 1080">
            <a:extLst>
              <a:ext uri="{FF2B5EF4-FFF2-40B4-BE49-F238E27FC236}">
                <a16:creationId xmlns:a16="http://schemas.microsoft.com/office/drawing/2014/main" id="{C6D9981C-BB15-17F6-8E16-ED9463B1D4F2}"/>
              </a:ext>
            </a:extLst>
          </p:cNvPr>
          <p:cNvSpPr/>
          <p:nvPr/>
        </p:nvSpPr>
        <p:spPr>
          <a:xfrm>
            <a:off x="6000630" y="3724614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93" name="Diagrama de flujo: conector 1092">
            <a:extLst>
              <a:ext uri="{FF2B5EF4-FFF2-40B4-BE49-F238E27FC236}">
                <a16:creationId xmlns:a16="http://schemas.microsoft.com/office/drawing/2014/main" id="{FB750ECB-5EF9-8D53-83B7-F6C4BC359BF4}"/>
              </a:ext>
            </a:extLst>
          </p:cNvPr>
          <p:cNvSpPr/>
          <p:nvPr/>
        </p:nvSpPr>
        <p:spPr>
          <a:xfrm>
            <a:off x="6396870" y="3795734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04" name="Diagrama de flujo: conector 1103">
            <a:extLst>
              <a:ext uri="{FF2B5EF4-FFF2-40B4-BE49-F238E27FC236}">
                <a16:creationId xmlns:a16="http://schemas.microsoft.com/office/drawing/2014/main" id="{595E139F-44DF-F67B-02CA-A7F88A746641}"/>
              </a:ext>
            </a:extLst>
          </p:cNvPr>
          <p:cNvSpPr/>
          <p:nvPr/>
        </p:nvSpPr>
        <p:spPr>
          <a:xfrm>
            <a:off x="6784082" y="3855013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105" name="Conector recto 1104">
            <a:extLst>
              <a:ext uri="{FF2B5EF4-FFF2-40B4-BE49-F238E27FC236}">
                <a16:creationId xmlns:a16="http://schemas.microsoft.com/office/drawing/2014/main" id="{EA7D1483-E3B6-2356-11F6-740130DF314E}"/>
              </a:ext>
            </a:extLst>
          </p:cNvPr>
          <p:cNvCxnSpPr>
            <a:cxnSpLocks/>
            <a:endCxn id="1104" idx="5"/>
          </p:cNvCxnSpPr>
          <p:nvPr/>
        </p:nvCxnSpPr>
        <p:spPr>
          <a:xfrm flipH="1" flipV="1">
            <a:off x="6876266" y="3947197"/>
            <a:ext cx="1073937" cy="588723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07" name="Rectángulo 1106">
            <a:extLst>
              <a:ext uri="{FF2B5EF4-FFF2-40B4-BE49-F238E27FC236}">
                <a16:creationId xmlns:a16="http://schemas.microsoft.com/office/drawing/2014/main" id="{76D1A3FA-C9B7-A2C8-F57D-59CE59E429AC}"/>
              </a:ext>
            </a:extLst>
          </p:cNvPr>
          <p:cNvSpPr/>
          <p:nvPr/>
        </p:nvSpPr>
        <p:spPr>
          <a:xfrm>
            <a:off x="7120464" y="4751207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08 - BIOBIO</a:t>
            </a:r>
          </a:p>
        </p:txBody>
      </p:sp>
      <p:sp>
        <p:nvSpPr>
          <p:cNvPr id="1108" name="Rectángulo 1107">
            <a:extLst>
              <a:ext uri="{FF2B5EF4-FFF2-40B4-BE49-F238E27FC236}">
                <a16:creationId xmlns:a16="http://schemas.microsoft.com/office/drawing/2014/main" id="{7C17C392-BF02-319E-CD60-BD62D251666C}"/>
              </a:ext>
            </a:extLst>
          </p:cNvPr>
          <p:cNvSpPr/>
          <p:nvPr/>
        </p:nvSpPr>
        <p:spPr>
          <a:xfrm>
            <a:off x="7120464" y="4944756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4 | 66,7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109" name="Rectángulo 1108">
            <a:extLst>
              <a:ext uri="{FF2B5EF4-FFF2-40B4-BE49-F238E27FC236}">
                <a16:creationId xmlns:a16="http://schemas.microsoft.com/office/drawing/2014/main" id="{8B5026E6-56E2-651D-AFC4-791D1D719EDA}"/>
              </a:ext>
            </a:extLst>
          </p:cNvPr>
          <p:cNvSpPr/>
          <p:nvPr/>
        </p:nvSpPr>
        <p:spPr>
          <a:xfrm>
            <a:off x="7130624" y="5102874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4 | 66,7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cxnSp>
        <p:nvCxnSpPr>
          <p:cNvPr id="1111" name="Conector recto de flecha 1110">
            <a:extLst>
              <a:ext uri="{FF2B5EF4-FFF2-40B4-BE49-F238E27FC236}">
                <a16:creationId xmlns:a16="http://schemas.microsoft.com/office/drawing/2014/main" id="{815C74D1-876B-2BB7-6CA6-E56B091C94BD}"/>
              </a:ext>
            </a:extLst>
          </p:cNvPr>
          <p:cNvCxnSpPr>
            <a:cxnSpLocks/>
          </p:cNvCxnSpPr>
          <p:nvPr/>
        </p:nvCxnSpPr>
        <p:spPr>
          <a:xfrm>
            <a:off x="7950203" y="4526645"/>
            <a:ext cx="0" cy="22456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15" name="Diagrama de flujo: conector 1114">
            <a:extLst>
              <a:ext uri="{FF2B5EF4-FFF2-40B4-BE49-F238E27FC236}">
                <a16:creationId xmlns:a16="http://schemas.microsoft.com/office/drawing/2014/main" id="{E9187A29-DD6F-6818-EE7C-E289F3BCC4C5}"/>
              </a:ext>
            </a:extLst>
          </p:cNvPr>
          <p:cNvSpPr/>
          <p:nvPr/>
        </p:nvSpPr>
        <p:spPr>
          <a:xfrm>
            <a:off x="7210802" y="3865173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23" name="Diagrama de flujo: conector 1122">
            <a:extLst>
              <a:ext uri="{FF2B5EF4-FFF2-40B4-BE49-F238E27FC236}">
                <a16:creationId xmlns:a16="http://schemas.microsoft.com/office/drawing/2014/main" id="{65DC3206-AF65-8FCC-5B84-C21CC7424590}"/>
              </a:ext>
            </a:extLst>
          </p:cNvPr>
          <p:cNvSpPr/>
          <p:nvPr/>
        </p:nvSpPr>
        <p:spPr>
          <a:xfrm>
            <a:off x="8753636" y="3801013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124" name="Conector recto 1123">
            <a:extLst>
              <a:ext uri="{FF2B5EF4-FFF2-40B4-BE49-F238E27FC236}">
                <a16:creationId xmlns:a16="http://schemas.microsoft.com/office/drawing/2014/main" id="{17F912EA-9C65-F48D-B6EC-D6489508E9FB}"/>
              </a:ext>
            </a:extLst>
          </p:cNvPr>
          <p:cNvCxnSpPr>
            <a:cxnSpLocks/>
            <a:endCxn id="14" idx="1"/>
          </p:cNvCxnSpPr>
          <p:nvPr/>
        </p:nvCxnSpPr>
        <p:spPr>
          <a:xfrm flipH="1" flipV="1">
            <a:off x="8164336" y="3848430"/>
            <a:ext cx="1709867" cy="107740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26" name="Conector recto de flecha 1125">
            <a:extLst>
              <a:ext uri="{FF2B5EF4-FFF2-40B4-BE49-F238E27FC236}">
                <a16:creationId xmlns:a16="http://schemas.microsoft.com/office/drawing/2014/main" id="{001D5675-9852-3645-F384-886FBDF1D05C}"/>
              </a:ext>
            </a:extLst>
          </p:cNvPr>
          <p:cNvCxnSpPr>
            <a:cxnSpLocks/>
          </p:cNvCxnSpPr>
          <p:nvPr/>
        </p:nvCxnSpPr>
        <p:spPr>
          <a:xfrm>
            <a:off x="9874203" y="4900536"/>
            <a:ext cx="0" cy="4485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28" name="Rectángulo 1127">
            <a:extLst>
              <a:ext uri="{FF2B5EF4-FFF2-40B4-BE49-F238E27FC236}">
                <a16:creationId xmlns:a16="http://schemas.microsoft.com/office/drawing/2014/main" id="{80C30A8D-103B-E013-A44A-A3DF4CC7877E}"/>
              </a:ext>
            </a:extLst>
          </p:cNvPr>
          <p:cNvSpPr/>
          <p:nvPr/>
        </p:nvSpPr>
        <p:spPr>
          <a:xfrm>
            <a:off x="8810448" y="5403195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4 – LOS RÍOS</a:t>
            </a:r>
          </a:p>
        </p:txBody>
      </p:sp>
      <p:sp>
        <p:nvSpPr>
          <p:cNvPr id="1129" name="Rectángulo 1128">
            <a:extLst>
              <a:ext uri="{FF2B5EF4-FFF2-40B4-BE49-F238E27FC236}">
                <a16:creationId xmlns:a16="http://schemas.microsoft.com/office/drawing/2014/main" id="{D4508EB0-B9A1-A711-E65F-C20C2CBECC94}"/>
              </a:ext>
            </a:extLst>
          </p:cNvPr>
          <p:cNvSpPr/>
          <p:nvPr/>
        </p:nvSpPr>
        <p:spPr>
          <a:xfrm>
            <a:off x="8810448" y="5759304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2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130" name="Rectángulo 1129">
            <a:extLst>
              <a:ext uri="{FF2B5EF4-FFF2-40B4-BE49-F238E27FC236}">
                <a16:creationId xmlns:a16="http://schemas.microsoft.com/office/drawing/2014/main" id="{5AE9D4A9-CAAF-1D5B-5E6D-2691F6A32E44}"/>
              </a:ext>
            </a:extLst>
          </p:cNvPr>
          <p:cNvSpPr/>
          <p:nvPr/>
        </p:nvSpPr>
        <p:spPr>
          <a:xfrm>
            <a:off x="8820608" y="5917422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2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132" name="Diagrama de flujo: conector 1131">
            <a:extLst>
              <a:ext uri="{FF2B5EF4-FFF2-40B4-BE49-F238E27FC236}">
                <a16:creationId xmlns:a16="http://schemas.microsoft.com/office/drawing/2014/main" id="{A651E080-E00E-68DC-F919-A701FBA99000}"/>
              </a:ext>
            </a:extLst>
          </p:cNvPr>
          <p:cNvSpPr/>
          <p:nvPr/>
        </p:nvSpPr>
        <p:spPr>
          <a:xfrm>
            <a:off x="1361440" y="3280403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136" name="Conector recto de flecha 1135">
            <a:extLst>
              <a:ext uri="{FF2B5EF4-FFF2-40B4-BE49-F238E27FC236}">
                <a16:creationId xmlns:a16="http://schemas.microsoft.com/office/drawing/2014/main" id="{DF42C1E3-E4A9-A536-162B-6B3C19DEE8AE}"/>
              </a:ext>
            </a:extLst>
          </p:cNvPr>
          <p:cNvCxnSpPr>
            <a:cxnSpLocks/>
          </p:cNvCxnSpPr>
          <p:nvPr/>
        </p:nvCxnSpPr>
        <p:spPr>
          <a:xfrm flipV="1">
            <a:off x="1414993" y="1973256"/>
            <a:ext cx="5990" cy="127706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37" name="Rectángulo 1136">
            <a:extLst>
              <a:ext uri="{FF2B5EF4-FFF2-40B4-BE49-F238E27FC236}">
                <a16:creationId xmlns:a16="http://schemas.microsoft.com/office/drawing/2014/main" id="{0C5371EB-DB8F-A73A-7676-AF205816C2DB}"/>
              </a:ext>
            </a:extLst>
          </p:cNvPr>
          <p:cNvSpPr/>
          <p:nvPr/>
        </p:nvSpPr>
        <p:spPr>
          <a:xfrm>
            <a:off x="413119" y="1315292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5 - ARICA Y PARINACOTA</a:t>
            </a:r>
          </a:p>
        </p:txBody>
      </p:sp>
      <p:sp>
        <p:nvSpPr>
          <p:cNvPr id="1138" name="Rectángulo 1137">
            <a:extLst>
              <a:ext uri="{FF2B5EF4-FFF2-40B4-BE49-F238E27FC236}">
                <a16:creationId xmlns:a16="http://schemas.microsoft.com/office/drawing/2014/main" id="{814AEA57-5DD6-61A3-7207-A084736F328F}"/>
              </a:ext>
            </a:extLst>
          </p:cNvPr>
          <p:cNvSpPr/>
          <p:nvPr/>
        </p:nvSpPr>
        <p:spPr>
          <a:xfrm>
            <a:off x="413119" y="1508841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2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139" name="Rectángulo 1138">
            <a:extLst>
              <a:ext uri="{FF2B5EF4-FFF2-40B4-BE49-F238E27FC236}">
                <a16:creationId xmlns:a16="http://schemas.microsoft.com/office/drawing/2014/main" id="{280D155F-1E2D-C5BA-4375-1C60E1F69D4B}"/>
              </a:ext>
            </a:extLst>
          </p:cNvPr>
          <p:cNvSpPr/>
          <p:nvPr/>
        </p:nvSpPr>
        <p:spPr>
          <a:xfrm>
            <a:off x="423279" y="1666959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2 | 100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cxnSp>
        <p:nvCxnSpPr>
          <p:cNvPr id="1141" name="Conector recto 1140">
            <a:extLst>
              <a:ext uri="{FF2B5EF4-FFF2-40B4-BE49-F238E27FC236}">
                <a16:creationId xmlns:a16="http://schemas.microsoft.com/office/drawing/2014/main" id="{4883A031-706F-C780-5B8C-BA1A03CC227D}"/>
              </a:ext>
            </a:extLst>
          </p:cNvPr>
          <p:cNvCxnSpPr>
            <a:cxnSpLocks/>
          </p:cNvCxnSpPr>
          <p:nvPr/>
        </p:nvCxnSpPr>
        <p:spPr>
          <a:xfrm>
            <a:off x="542575" y="737136"/>
            <a:ext cx="10951975" cy="0"/>
          </a:xfrm>
          <a:prstGeom prst="line">
            <a:avLst/>
          </a:prstGeom>
          <a:ln w="9525">
            <a:solidFill>
              <a:srgbClr val="94B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D2C2D0D4-66B6-FA7F-781C-D45257ABD4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137" y="-365253"/>
            <a:ext cx="1407736" cy="1407736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2BD29BCB-4C77-0AA1-5D9D-1DCDEDD1C078}"/>
              </a:ext>
            </a:extLst>
          </p:cNvPr>
          <p:cNvCxnSpPr>
            <a:cxnSpLocks/>
            <a:stCxn id="1123" idx="7"/>
          </p:cNvCxnSpPr>
          <p:nvPr/>
        </p:nvCxnSpPr>
        <p:spPr>
          <a:xfrm flipV="1">
            <a:off x="8845820" y="3018873"/>
            <a:ext cx="993056" cy="797956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A8ECDA4D-F589-DB2E-078C-A52199A250AA}"/>
              </a:ext>
            </a:extLst>
          </p:cNvPr>
          <p:cNvCxnSpPr>
            <a:cxnSpLocks/>
          </p:cNvCxnSpPr>
          <p:nvPr/>
        </p:nvCxnSpPr>
        <p:spPr>
          <a:xfrm flipV="1">
            <a:off x="9834170" y="1881731"/>
            <a:ext cx="4706" cy="11341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:a16="http://schemas.microsoft.com/office/drawing/2014/main" id="{63EC2940-6A18-73F8-640F-41D3EEA5A7D9}"/>
              </a:ext>
            </a:extLst>
          </p:cNvPr>
          <p:cNvSpPr/>
          <p:nvPr/>
        </p:nvSpPr>
        <p:spPr>
          <a:xfrm>
            <a:off x="8726068" y="1256078"/>
            <a:ext cx="206854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1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10 - LOS LAGOS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F9AB85E-38E8-1B03-A9C1-74EA6530564B}"/>
              </a:ext>
            </a:extLst>
          </p:cNvPr>
          <p:cNvSpPr/>
          <p:nvPr/>
        </p:nvSpPr>
        <p:spPr>
          <a:xfrm>
            <a:off x="8658235" y="1474363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LOCALES IMPLEMENTADOS: 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5 | 83,3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E0150CAE-6B29-9F08-5B0A-2AF4864E0592}"/>
              </a:ext>
            </a:extLst>
          </p:cNvPr>
          <p:cNvSpPr/>
          <p:nvPr/>
        </p:nvSpPr>
        <p:spPr>
          <a:xfrm>
            <a:off x="8658234" y="1680813"/>
            <a:ext cx="23518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MATERIAL IMPLEMENTADO:  </a:t>
            </a:r>
            <a:r>
              <a:rPr lang="es-ES" sz="9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5</a:t>
            </a:r>
            <a:r>
              <a:rPr lang="es-ES" sz="1000" b="1" dirty="0">
                <a:solidFill>
                  <a:schemeClr val="bg1">
                    <a:lumMod val="50000"/>
                  </a:schemeClr>
                </a:solidFill>
                <a:latin typeface="Helvetica Neue Thin" panose="020B0403020202020204" pitchFamily="34" charset="0"/>
              </a:rPr>
              <a:t> | 83,3%</a:t>
            </a:r>
            <a:endParaRPr lang="es-ES" sz="900" b="1" dirty="0">
              <a:solidFill>
                <a:schemeClr val="bg1">
                  <a:lumMod val="50000"/>
                </a:schemeClr>
              </a:solidFill>
              <a:latin typeface="Helvetica Neue Thin" panose="020B0403020202020204" pitchFamily="34" charset="0"/>
            </a:endParaRPr>
          </a:p>
        </p:txBody>
      </p:sp>
      <p:sp>
        <p:nvSpPr>
          <p:cNvPr id="14" name="Diagrama de flujo: conector 13">
            <a:extLst>
              <a:ext uri="{FF2B5EF4-FFF2-40B4-BE49-F238E27FC236}">
                <a16:creationId xmlns:a16="http://schemas.microsoft.com/office/drawing/2014/main" id="{F49FAE65-86A8-9280-650C-8B7F5397AD6A}"/>
              </a:ext>
            </a:extLst>
          </p:cNvPr>
          <p:cNvSpPr/>
          <p:nvPr/>
        </p:nvSpPr>
        <p:spPr>
          <a:xfrm>
            <a:off x="8148520" y="3832614"/>
            <a:ext cx="108000" cy="1080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153A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8253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88896-A7C7-9D27-2C6C-7E5F5F864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63B2295-24F1-93BB-91AF-EFD15C0A8F25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i="0" u="none" strike="noStrike" dirty="0">
                <a:solidFill>
                  <a:srgbClr val="000000"/>
                </a:solidFill>
                <a:effectLst/>
                <a:latin typeface="+mn-lt"/>
              </a:rPr>
              <a:t>710 UNIMARC - LAS VIOLETAS 39,  SAN PEDRO DE LA PAZ</a:t>
            </a:r>
            <a:r>
              <a:rPr lang="es-ES" sz="1800" dirty="0">
                <a:latin typeface="+mn-lt"/>
              </a:rPr>
              <a:t> </a:t>
            </a:r>
            <a:endParaRPr lang="es-MX" sz="1800" dirty="0">
              <a:latin typeface="+mn-lt"/>
            </a:endParaRPr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DE8CD9A7-4EC7-9CF6-7D52-D8F3C7EBBB46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511CAE66-F9A3-0518-4254-DA8EC5CEACF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546A40C3-3B4A-1D0D-BA74-224EFADBD62F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3A91157D-17EF-1D5D-63F8-56E501F6CA82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4D3AE3A8-9CD0-D77A-7E9E-182F100D4B6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61A45D3F-680E-F6D1-DF43-71CBCCE73E4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9EC0121A-C1EC-CF9E-0D90-7497CF1296D3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7E55AC39-6F8B-3194-37E9-CBE72CA96D6A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226DEA0D-8958-5352-7DEE-BE7700CB972E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3EC0D215-7638-A9DD-198F-B870886B0F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17" name="Imagen 16" descr="Una tienda de ropa&#10;&#10;El contenido generado por IA puede ser incorrecto.">
            <a:extLst>
              <a:ext uri="{FF2B5EF4-FFF2-40B4-BE49-F238E27FC236}">
                <a16:creationId xmlns:a16="http://schemas.microsoft.com/office/drawing/2014/main" id="{901B1793-2714-B404-A17E-0A901E15A8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9982"/>
            <a:ext cx="3415556" cy="4536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533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79DF9D-3071-0D4E-0D05-5346E512B6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307090F-576B-3E8E-8FB6-95F7977A6312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CL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13 UNIMARC - GOMEZ CARREÑO 3875 (L011),  TALCAHUANO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906774B4-5552-2554-B610-EAA7E83E021C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0F82DED6-7C41-A7BC-DB97-F56EE251F56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5BA2615B-57D1-EC71-44A1-DA47D4E6B38E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4E9621F6-F9FC-29FF-0A55-A73ED94905B0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8BCBEEEC-1C14-4E01-0CA4-69DFDAD918B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E6CD3919-24DC-2C71-12BE-9B6FD8589B5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1A9B26FC-0D2B-BFDD-D044-6B1D7FEB713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24E21BD0-1DA0-9D22-ADF8-FB083961E730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14F3ABD0-85D9-B2CC-DA02-C135232F07E3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01030EDD-A43B-B85E-D758-4A9A4452FF6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4" name="Imagen 3" descr="Imagen que contiene interior, refrigerador, llenado, comida&#10;&#10;El contenido generado por IA puede ser incorrecto.">
            <a:extLst>
              <a:ext uri="{FF2B5EF4-FFF2-40B4-BE49-F238E27FC236}">
                <a16:creationId xmlns:a16="http://schemas.microsoft.com/office/drawing/2014/main" id="{982E6D0B-756D-5076-B5D4-741C440F75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862" y="2012401"/>
            <a:ext cx="3370505" cy="4476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7008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103EE-651E-BED3-56C9-7B8BB92BF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59BEC98-AAFF-411D-F600-8B1DBB06E5F3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469 UNIMARC - AVDA.MANQUEHUE NORTE 457,  LAS CONDES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D1FD886E-D6E3-64C2-DD63-7F2A31968CEB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99094462-FCCE-826B-4582-32C2381F5E4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B92FA5AA-A5CA-49E0-4563-77C192096969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6A9767E0-705F-268E-3E1A-3486182F8DB3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D9587EB2-1A9E-90FC-18BE-89BEF0A3880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4AF371E2-F599-6B54-0C1A-DDD3866FF5F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7E38EBFD-D73F-2166-7266-972C2EB8F5CB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5AF948A5-982E-A468-B0FA-9F2D05319084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30A8A0B4-3389-CDDB-FBBB-3DB610DC9DD1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78D59B45-6A28-FB7F-45E3-F711A3E45C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Interfaz de usuario gráfica&#10;&#10;El contenido generado por IA puede ser incorrecto.">
            <a:extLst>
              <a:ext uri="{FF2B5EF4-FFF2-40B4-BE49-F238E27FC236}">
                <a16:creationId xmlns:a16="http://schemas.microsoft.com/office/drawing/2014/main" id="{F7373819-14C3-023E-3BFF-7068EE5464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924" y="1999965"/>
            <a:ext cx="3435874" cy="458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933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6233DC-63D2-4339-3487-75710F9D2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22EFCF91-FA5C-6C82-3159-2D41E97AADE7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81 UNIMARC - VICUÑA MACKENNA ORIENTE 6323,  LA FLORIDA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A8E2D67A-5899-0437-37ED-3D67E6A72D13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B778AB07-ACFB-23C9-4A5C-4A470E72C47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A1163591-6C00-A9D5-B210-529C5301E33E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CA62560F-D096-C064-E905-2EDC68584B13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11670311-6166-4AF8-A72E-9677085B8E3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39CE8BAD-3117-1138-4DB4-40DCF3F11D3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C4A43663-4468-D8FB-C222-F743E6DFEBD1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671A2F86-00F7-5FE2-B7D3-7CD621105B9E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08F12776-9E63-E9E1-33E3-4923A054CA1C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1F1CAD43-EACE-D07F-E768-5D5601373DD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Una tienda de ropa&#10;&#10;El contenido generado por IA puede ser incorrecto.">
            <a:extLst>
              <a:ext uri="{FF2B5EF4-FFF2-40B4-BE49-F238E27FC236}">
                <a16:creationId xmlns:a16="http://schemas.microsoft.com/office/drawing/2014/main" id="{5AB62751-5EAD-7D6B-4B55-04F61860DB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2401"/>
            <a:ext cx="3425390" cy="4567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715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E6D50-6B1E-C6A6-9E4E-D90280D90E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12A72C2A-AEED-1C37-9E91-B6DAA7D06CC8}"/>
              </a:ext>
            </a:extLst>
          </p:cNvPr>
          <p:cNvSpPr txBox="1">
            <a:spLocks/>
          </p:cNvSpPr>
          <p:nvPr/>
        </p:nvSpPr>
        <p:spPr>
          <a:xfrm>
            <a:off x="1244985" y="145047"/>
            <a:ext cx="7573835" cy="913712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Helvetica Neue Thin" panose="020B0403020202020204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es-MX" sz="3200" spc="-215" dirty="0">
                <a:solidFill>
                  <a:srgbClr val="153A8A"/>
                </a:solidFill>
              </a:rPr>
              <a:t>IMPLEMENTACION</a:t>
            </a:r>
            <a:endParaRPr lang="es-MX" sz="3200" spc="-260" dirty="0">
              <a:solidFill>
                <a:srgbClr val="153A8A"/>
              </a:solidFill>
            </a:endParaRPr>
          </a:p>
          <a:p>
            <a:pPr marL="29845">
              <a:lnSpc>
                <a:spcPct val="100000"/>
              </a:lnSpc>
              <a:spcBef>
                <a:spcPts val="320"/>
              </a:spcBef>
            </a:pPr>
            <a:r>
              <a:rPr lang="es-E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05 UNIMARC - VICENTE VALDES 85 (L117),  LA FLORIDA</a:t>
            </a:r>
            <a:r>
              <a:rPr lang="es-ES" sz="900" dirty="0"/>
              <a:t> </a:t>
            </a:r>
            <a:endParaRPr lang="es-MX" sz="2000" dirty="0"/>
          </a:p>
        </p:txBody>
      </p:sp>
      <p:grpSp>
        <p:nvGrpSpPr>
          <p:cNvPr id="7" name="object 3">
            <a:extLst>
              <a:ext uri="{FF2B5EF4-FFF2-40B4-BE49-F238E27FC236}">
                <a16:creationId xmlns:a16="http://schemas.microsoft.com/office/drawing/2014/main" id="{08FDDF10-78FC-2CFD-8D1A-B3B2B1663D39}"/>
              </a:ext>
            </a:extLst>
          </p:cNvPr>
          <p:cNvGrpSpPr/>
          <p:nvPr/>
        </p:nvGrpSpPr>
        <p:grpSpPr>
          <a:xfrm>
            <a:off x="2814321" y="1256482"/>
            <a:ext cx="6075680" cy="5456471"/>
            <a:chOff x="6166088" y="1598663"/>
            <a:chExt cx="5473065" cy="496125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B3E4EECF-A585-23DD-5890-80E18A16181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166088" y="1938504"/>
              <a:ext cx="5472714" cy="4620803"/>
            </a:xfrm>
            <a:prstGeom prst="rect">
              <a:avLst/>
            </a:prstGeom>
          </p:spPr>
        </p:pic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E00D1192-B5BA-EA08-50CD-C4EA0D2E68C2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5393309" y="0"/>
                  </a:moveTo>
                  <a:lnTo>
                    <a:pt x="0" y="0"/>
                  </a:lnTo>
                  <a:lnTo>
                    <a:pt x="0" y="4533900"/>
                  </a:lnTo>
                  <a:lnTo>
                    <a:pt x="5393309" y="4533900"/>
                  </a:lnTo>
                  <a:lnTo>
                    <a:pt x="5393309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44E0DCA1-5EAC-9881-DDD4-4177AF0D6D33}"/>
                </a:ext>
              </a:extLst>
            </p:cNvPr>
            <p:cNvSpPr/>
            <p:nvPr/>
          </p:nvSpPr>
          <p:spPr>
            <a:xfrm>
              <a:off x="6181343" y="1953082"/>
              <a:ext cx="5393690" cy="4533900"/>
            </a:xfrm>
            <a:custGeom>
              <a:avLst/>
              <a:gdLst/>
              <a:ahLst/>
              <a:cxnLst/>
              <a:rect l="l" t="t" r="r" b="b"/>
              <a:pathLst>
                <a:path w="5393690" h="4533900">
                  <a:moveTo>
                    <a:pt x="0" y="4533900"/>
                  </a:moveTo>
                  <a:lnTo>
                    <a:pt x="5393309" y="4533900"/>
                  </a:lnTo>
                  <a:lnTo>
                    <a:pt x="5393309" y="0"/>
                  </a:lnTo>
                  <a:lnTo>
                    <a:pt x="0" y="0"/>
                  </a:lnTo>
                  <a:lnTo>
                    <a:pt x="0" y="4533900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DCF4C6D7-1B81-E85C-F48B-0CCAC8598D0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72071" y="1598663"/>
              <a:ext cx="4631435" cy="661428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68E2244F-B5C6-D7F1-848E-2DCD3483F2B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69579" y="1604759"/>
              <a:ext cx="1834896" cy="742200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328C33F8-76E0-C3E7-76F5-6EF82DD5F78B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4512691" y="0"/>
                  </a:moveTo>
                  <a:lnTo>
                    <a:pt x="136779" y="0"/>
                  </a:lnTo>
                  <a:lnTo>
                    <a:pt x="0" y="546862"/>
                  </a:lnTo>
                  <a:lnTo>
                    <a:pt x="4376039" y="546862"/>
                  </a:lnTo>
                  <a:lnTo>
                    <a:pt x="4512691" y="0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9D42DDB6-C38B-4141-8739-B73BCC22EAC6}"/>
                </a:ext>
              </a:extLst>
            </p:cNvPr>
            <p:cNvSpPr/>
            <p:nvPr/>
          </p:nvSpPr>
          <p:spPr>
            <a:xfrm>
              <a:off x="6706234" y="1631441"/>
              <a:ext cx="4512945" cy="547370"/>
            </a:xfrm>
            <a:custGeom>
              <a:avLst/>
              <a:gdLst/>
              <a:ahLst/>
              <a:cxnLst/>
              <a:rect l="l" t="t" r="r" b="b"/>
              <a:pathLst>
                <a:path w="4512945" h="547369">
                  <a:moveTo>
                    <a:pt x="0" y="546862"/>
                  </a:moveTo>
                  <a:lnTo>
                    <a:pt x="136779" y="0"/>
                  </a:lnTo>
                  <a:lnTo>
                    <a:pt x="4512691" y="0"/>
                  </a:lnTo>
                  <a:lnTo>
                    <a:pt x="4376039" y="546862"/>
                  </a:lnTo>
                  <a:lnTo>
                    <a:pt x="0" y="546862"/>
                  </a:lnTo>
                  <a:close/>
                </a:path>
              </a:pathLst>
            </a:custGeom>
            <a:ln w="12700">
              <a:solidFill>
                <a:srgbClr val="F4F4F4"/>
              </a:solidFill>
            </a:ln>
          </p:spPr>
          <p:txBody>
            <a:bodyPr wrap="square" lIns="0" tIns="0" rIns="0" bIns="0" rtlCol="0"/>
            <a:lstStyle/>
            <a:p>
              <a:pPr algn="ctr"/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FD0FF63F-22B7-0B86-0043-0AF5AB68F8D4}"/>
              </a:ext>
            </a:extLst>
          </p:cNvPr>
          <p:cNvSpPr txBox="1"/>
          <p:nvPr/>
        </p:nvSpPr>
        <p:spPr>
          <a:xfrm>
            <a:off x="4388222" y="1353315"/>
            <a:ext cx="345348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CL" sz="2400" b="1" spc="-350" dirty="0">
                <a:solidFill>
                  <a:srgbClr val="404040"/>
                </a:solidFill>
                <a:latin typeface="Helvetica Neue Thin" panose="020B0403020202020204"/>
                <a:cs typeface="Trebuchet MS"/>
              </a:rPr>
              <a:t>REVESTIMIENTO  CABECERA</a:t>
            </a:r>
            <a:endParaRPr sz="2400" dirty="0">
              <a:latin typeface="Helvetica Neue Thin" panose="020B0403020202020204"/>
              <a:cs typeface="Trebuchet MS"/>
            </a:endParaRPr>
          </a:p>
        </p:txBody>
      </p:sp>
      <p:pic>
        <p:nvPicPr>
          <p:cNvPr id="3" name="Imagen 2" descr="Forma&#10;&#10;El contenido generado por IA puede ser incorrecto.">
            <a:extLst>
              <a:ext uri="{FF2B5EF4-FFF2-40B4-BE49-F238E27FC236}">
                <a16:creationId xmlns:a16="http://schemas.microsoft.com/office/drawing/2014/main" id="{E4147488-DAE7-70DE-67A3-59F5CCAB7BB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106" y="-202317"/>
            <a:ext cx="1465503" cy="1465503"/>
          </a:xfrm>
          <a:prstGeom prst="rect">
            <a:avLst/>
          </a:prstGeom>
        </p:spPr>
      </p:pic>
      <p:pic>
        <p:nvPicPr>
          <p:cNvPr id="6" name="Imagen 5" descr="Imagen que contiene interior, refrigerador, comida, llenado&#10;&#10;El contenido generado por IA puede ser incorrecto.">
            <a:extLst>
              <a:ext uri="{FF2B5EF4-FFF2-40B4-BE49-F238E27FC236}">
                <a16:creationId xmlns:a16="http://schemas.microsoft.com/office/drawing/2014/main" id="{7C856A14-3D57-A6E7-096B-43228733E8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22" y="2019982"/>
            <a:ext cx="3303575" cy="440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020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3UC4qUHlBsEFzgiJB2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mbZ1tJLXS2Dehtx5P0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HvnsYZ78.bsjrLBDLS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8KQVPXxMQqAQVq1k5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vDmQPU2nKX6_CFBZ0C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ImgTZDv8gKlx_GiBFz2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OQqoXSNIA1wmSz3zP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h_AEqPaPRSmrU8siOe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Gde6n1FiXohw287nGY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UgYWZs1ocsNaTqhz7A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5Kfw18Ba0htp5PO26v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8731</TotalTime>
  <Words>640</Words>
  <Application>Microsoft Office PowerPoint</Application>
  <PresentationFormat>Panorámica</PresentationFormat>
  <Paragraphs>145</Paragraphs>
  <Slides>3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6</vt:i4>
      </vt:variant>
    </vt:vector>
  </HeadingPairs>
  <TitlesOfParts>
    <vt:vector size="42" baseType="lpstr">
      <vt:lpstr>Arial</vt:lpstr>
      <vt:lpstr>Calibri</vt:lpstr>
      <vt:lpstr>Helvetica Neue Light</vt:lpstr>
      <vt:lpstr>Helvetica Neue Thin</vt:lpstr>
      <vt:lpstr>1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</dc:creator>
  <cp:lastModifiedBy>manuel gomez caballero</cp:lastModifiedBy>
  <cp:revision>354</cp:revision>
  <cp:lastPrinted>2022-06-24T16:54:17Z</cp:lastPrinted>
  <dcterms:created xsi:type="dcterms:W3CDTF">2021-12-21T11:54:59Z</dcterms:created>
  <dcterms:modified xsi:type="dcterms:W3CDTF">2025-06-06T19:12:02Z</dcterms:modified>
</cp:coreProperties>
</file>